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4"/>
  </p:notesMasterIdLst>
  <p:handoutMasterIdLst>
    <p:handoutMasterId r:id="rId25"/>
  </p:handoutMasterIdLst>
  <p:sldIdLst>
    <p:sldId id="273" r:id="rId5"/>
    <p:sldId id="3280" r:id="rId6"/>
    <p:sldId id="3266" r:id="rId7"/>
    <p:sldId id="316" r:id="rId8"/>
    <p:sldId id="320" r:id="rId9"/>
    <p:sldId id="3340" r:id="rId10"/>
    <p:sldId id="3341" r:id="rId11"/>
    <p:sldId id="3269" r:id="rId12"/>
    <p:sldId id="3217" r:id="rId13"/>
    <p:sldId id="3343" r:id="rId14"/>
    <p:sldId id="572" r:id="rId15"/>
    <p:sldId id="3342" r:id="rId16"/>
    <p:sldId id="3344" r:id="rId17"/>
    <p:sldId id="3270" r:id="rId18"/>
    <p:sldId id="3348" r:id="rId19"/>
    <p:sldId id="562" r:id="rId20"/>
    <p:sldId id="3346" r:id="rId21"/>
    <p:sldId id="334" r:id="rId22"/>
    <p:sldId id="3347"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adlee, Jordan (US - Atlanta)" initials="HJ(-A" lastIdx="19" clrIdx="0">
    <p:extLst>
      <p:ext uri="{19B8F6BF-5375-455C-9EA6-DF929625EA0E}">
        <p15:presenceInfo xmlns:p15="http://schemas.microsoft.com/office/powerpoint/2012/main" userId="S-1-5-21-238447276-1040861923-1850952788-823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3E0"/>
    <a:srgbClr val="00ABAB"/>
    <a:srgbClr val="0097A9"/>
    <a:srgbClr val="86BC25"/>
    <a:srgbClr val="97999B"/>
    <a:srgbClr val="43B02A"/>
    <a:srgbClr val="9EA1A5"/>
    <a:srgbClr val="D6D8D7"/>
    <a:srgbClr val="00A7E5"/>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256" autoAdjust="0"/>
    <p:restoredTop sz="94660"/>
  </p:normalViewPr>
  <p:slideViewPr>
    <p:cSldViewPr snapToGrid="0">
      <p:cViewPr>
        <p:scale>
          <a:sx n="58" d="100"/>
          <a:sy n="58" d="100"/>
        </p:scale>
        <p:origin x="980" y="14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96103E4-AF29-4190-BD7B-039AA802373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C6272BC-A3FE-4C71-A867-FC17B23842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0F15969-CECC-4954-896A-7FD508AC31CB}" type="datetimeFigureOut">
              <a:rPr lang="en-US" smtClean="0"/>
              <a:t>11/1/2022</a:t>
            </a:fld>
            <a:endParaRPr lang="en-US"/>
          </a:p>
        </p:txBody>
      </p:sp>
      <p:sp>
        <p:nvSpPr>
          <p:cNvPr id="4" name="Footer Placeholder 3">
            <a:extLst>
              <a:ext uri="{FF2B5EF4-FFF2-40B4-BE49-F238E27FC236}">
                <a16:creationId xmlns:a16="http://schemas.microsoft.com/office/drawing/2014/main" id="{B1A8BD1B-B164-4DD4-B5C2-EF9CAF5A25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27544C-5B86-47CB-8270-2842CAC448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503C5-BF41-4083-9B88-FBDFC5B2477E}" type="slidenum">
              <a:rPr lang="en-US" smtClean="0"/>
              <a:t>‹#›</a:t>
            </a:fld>
            <a:endParaRPr lang="en-US"/>
          </a:p>
        </p:txBody>
      </p:sp>
    </p:spTree>
    <p:extLst>
      <p:ext uri="{BB962C8B-B14F-4D97-AF65-F5344CB8AC3E}">
        <p14:creationId xmlns:p14="http://schemas.microsoft.com/office/powerpoint/2010/main" val="21378433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D2E597-FD8E-42C6-92D5-FDA8FFB77783}" type="datetimeFigureOut">
              <a:rPr lang="en-US" smtClean="0"/>
              <a:t>1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CEF79B-17B4-460B-B087-A216EFE6F672}" type="slidenum">
              <a:rPr lang="en-US" smtClean="0"/>
              <a:t>‹#›</a:t>
            </a:fld>
            <a:endParaRPr lang="en-US"/>
          </a:p>
        </p:txBody>
      </p:sp>
    </p:spTree>
    <p:extLst>
      <p:ext uri="{BB962C8B-B14F-4D97-AF65-F5344CB8AC3E}">
        <p14:creationId xmlns:p14="http://schemas.microsoft.com/office/powerpoint/2010/main" val="870546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1453326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direct recommendation! </a:t>
            </a:r>
          </a:p>
        </p:txBody>
      </p:sp>
      <p:sp>
        <p:nvSpPr>
          <p:cNvPr id="4" name="Slide Number Placeholder 3"/>
          <p:cNvSpPr>
            <a:spLocks noGrp="1"/>
          </p:cNvSpPr>
          <p:nvPr>
            <p:ph type="sldNum" sz="quarter" idx="10"/>
          </p:nvPr>
        </p:nvSpPr>
        <p:spPr/>
        <p:txBody>
          <a:bodyPr/>
          <a:lstStyle/>
          <a:p>
            <a:fld id="{5BA76E45-6B41-42DC-8BC0-4F32365D1BCD}" type="slidenum">
              <a:rPr lang="en-US" smtClean="0"/>
              <a:t>15</a:t>
            </a:fld>
            <a:endParaRPr lang="en-US"/>
          </a:p>
        </p:txBody>
      </p:sp>
    </p:spTree>
    <p:extLst>
      <p:ext uri="{BB962C8B-B14F-4D97-AF65-F5344CB8AC3E}">
        <p14:creationId xmlns:p14="http://schemas.microsoft.com/office/powerpoint/2010/main" val="366515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direct recommendation! </a:t>
            </a:r>
          </a:p>
        </p:txBody>
      </p:sp>
      <p:sp>
        <p:nvSpPr>
          <p:cNvPr id="4" name="Slide Number Placeholder 3"/>
          <p:cNvSpPr>
            <a:spLocks noGrp="1"/>
          </p:cNvSpPr>
          <p:nvPr>
            <p:ph type="sldNum" sz="quarter" idx="10"/>
          </p:nvPr>
        </p:nvSpPr>
        <p:spPr/>
        <p:txBody>
          <a:bodyPr/>
          <a:lstStyle/>
          <a:p>
            <a:fld id="{5BA76E45-6B41-42DC-8BC0-4F32365D1BCD}" type="slidenum">
              <a:rPr lang="en-US" smtClean="0"/>
              <a:t>16</a:t>
            </a:fld>
            <a:endParaRPr lang="en-US"/>
          </a:p>
        </p:txBody>
      </p:sp>
    </p:spTree>
    <p:extLst>
      <p:ext uri="{BB962C8B-B14F-4D97-AF65-F5344CB8AC3E}">
        <p14:creationId xmlns:p14="http://schemas.microsoft.com/office/powerpoint/2010/main" val="1398297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8</a:t>
            </a:fld>
            <a:endParaRPr lang="en-US"/>
          </a:p>
        </p:txBody>
      </p:sp>
    </p:spTree>
    <p:extLst>
      <p:ext uri="{BB962C8B-B14F-4D97-AF65-F5344CB8AC3E}">
        <p14:creationId xmlns:p14="http://schemas.microsoft.com/office/powerpoint/2010/main" val="3175319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3265549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213972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2801047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9</a:t>
            </a:fld>
            <a:endParaRPr lang="en-US"/>
          </a:p>
        </p:txBody>
      </p:sp>
    </p:spTree>
    <p:extLst>
      <p:ext uri="{BB962C8B-B14F-4D97-AF65-F5344CB8AC3E}">
        <p14:creationId xmlns:p14="http://schemas.microsoft.com/office/powerpoint/2010/main" val="1220018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how you divide the data</a:t>
            </a:r>
          </a:p>
        </p:txBody>
      </p:sp>
      <p:sp>
        <p:nvSpPr>
          <p:cNvPr id="4" name="Slide Number Placeholder 3"/>
          <p:cNvSpPr>
            <a:spLocks noGrp="1"/>
          </p:cNvSpPr>
          <p:nvPr>
            <p:ph type="sldNum" sz="quarter" idx="10"/>
          </p:nvPr>
        </p:nvSpPr>
        <p:spPr/>
        <p:txBody>
          <a:bodyPr/>
          <a:lstStyle/>
          <a:p>
            <a:fld id="{5BA76E45-6B41-42DC-8BC0-4F32365D1BCD}" type="slidenum">
              <a:rPr lang="en-US" smtClean="0"/>
              <a:t>10</a:t>
            </a:fld>
            <a:endParaRPr lang="en-US"/>
          </a:p>
        </p:txBody>
      </p:sp>
    </p:spTree>
    <p:extLst>
      <p:ext uri="{BB962C8B-B14F-4D97-AF65-F5344CB8AC3E}">
        <p14:creationId xmlns:p14="http://schemas.microsoft.com/office/powerpoint/2010/main" val="2285332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1</a:t>
            </a:fld>
            <a:endParaRPr lang="en-US"/>
          </a:p>
        </p:txBody>
      </p:sp>
    </p:spTree>
    <p:extLst>
      <p:ext uri="{BB962C8B-B14F-4D97-AF65-F5344CB8AC3E}">
        <p14:creationId xmlns:p14="http://schemas.microsoft.com/office/powerpoint/2010/main" val="3946239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2</a:t>
            </a:fld>
            <a:endParaRPr lang="en-US"/>
          </a:p>
        </p:txBody>
      </p:sp>
    </p:spTree>
    <p:extLst>
      <p:ext uri="{BB962C8B-B14F-4D97-AF65-F5344CB8AC3E}">
        <p14:creationId xmlns:p14="http://schemas.microsoft.com/office/powerpoint/2010/main" val="1036235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A76E45-6B41-42DC-8BC0-4F32365D1BCD}" type="slidenum">
              <a:rPr lang="en-US" smtClean="0"/>
              <a:t>13</a:t>
            </a:fld>
            <a:endParaRPr lang="en-US"/>
          </a:p>
        </p:txBody>
      </p:sp>
    </p:spTree>
    <p:extLst>
      <p:ext uri="{BB962C8B-B14F-4D97-AF65-F5344CB8AC3E}">
        <p14:creationId xmlns:p14="http://schemas.microsoft.com/office/powerpoint/2010/main" val="9925973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791920285"/>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5410641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79278002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0467371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77619753"/>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235272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9339283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3848925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7278536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856066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97491774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551971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9155"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552509772"/>
      </p:ext>
    </p:extLst>
  </p:cSld>
  <p:clrMap bg1="lt1" tx1="dk1" bg2="lt2" tx2="dk2" accent1="accent1" accent2="accent2" accent3="accent3" accent4="accent4" accent5="accent5" accent6="accent6" hlink="hlink" folHlink="folHlink"/>
  <p:sldLayoutIdLst>
    <p:sldLayoutId id="2147483670" r:id="rId1"/>
    <p:sldLayoutId id="2147483769" r:id="rId2"/>
    <p:sldLayoutId id="2147483681" r:id="rId3"/>
    <p:sldLayoutId id="2147483761" r:id="rId4"/>
    <p:sldLayoutId id="2147483762" r:id="rId5"/>
    <p:sldLayoutId id="2147483763" r:id="rId6"/>
    <p:sldLayoutId id="2147483667" r:id="rId7"/>
    <p:sldLayoutId id="2147483767" r:id="rId8"/>
    <p:sldLayoutId id="2147483766" r:id="rId9"/>
    <p:sldLayoutId id="2147483668" r:id="rId10"/>
    <p:sldLayoutId id="2147483734" r:id="rId11"/>
    <p:sldLayoutId id="2147483770" r:id="rId1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4.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6.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4.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4.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8.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4.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4.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svg"/><Relationship Id="rId3" Type="http://schemas.openxmlformats.org/officeDocument/2006/relationships/slideLayout" Target="../slideLayouts/slideLayout9.xml"/><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tags" Target="../tags/tag14.xml"/><Relationship Id="rId16" Type="http://schemas.openxmlformats.org/officeDocument/2006/relationships/image" Target="../media/image28.png"/><Relationship Id="rId1" Type="http://schemas.openxmlformats.org/officeDocument/2006/relationships/vmlDrawing" Target="../drawings/vmlDrawing12.vml"/><Relationship Id="rId6" Type="http://schemas.openxmlformats.org/officeDocument/2006/relationships/image" Target="../media/image14.emf"/><Relationship Id="rId11" Type="http://schemas.openxmlformats.org/officeDocument/2006/relationships/image" Target="../media/image23.svg"/><Relationship Id="rId5" Type="http://schemas.openxmlformats.org/officeDocument/2006/relationships/oleObject" Target="../embeddings/oleObject12.bin"/><Relationship Id="rId15" Type="http://schemas.openxmlformats.org/officeDocument/2006/relationships/image" Target="../media/image27.svg"/><Relationship Id="rId10" Type="http://schemas.openxmlformats.org/officeDocument/2006/relationships/image" Target="../media/image22.svg"/><Relationship Id="rId4" Type="http://schemas.openxmlformats.org/officeDocument/2006/relationships/notesSlide" Target="../notesSlides/notesSlide11.xml"/><Relationship Id="rId9" Type="http://schemas.openxmlformats.org/officeDocument/2006/relationships/image" Target="../media/image21.png"/><Relationship Id="rId14" Type="http://schemas.openxmlformats.org/officeDocument/2006/relationships/image" Target="../media/image2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hyperlink" Target="mailto:dfloresalbores@deloitte.co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tags" Target="../tags/tag3.xml"/><Relationship Id="rId7" Type="http://schemas.openxmlformats.org/officeDocument/2006/relationships/image" Target="../media/image5.emf"/><Relationship Id="rId12"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9.svg"/><Relationship Id="rId5" Type="http://schemas.openxmlformats.org/officeDocument/2006/relationships/notesSlide" Target="../notesSlides/notesSlide1.xml"/><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slideLayout" Target="../slideLayouts/slideLayout9.xml"/><Relationship Id="rId9" Type="http://schemas.openxmlformats.org/officeDocument/2006/relationships/image" Target="../media/image7.sv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4.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E00515-6C2A-46A7-B7E2-49CA9CCC0E53}"/>
              </a:ext>
            </a:extLst>
          </p:cNvPr>
          <p:cNvSpPr>
            <a:spLocks noGrp="1"/>
          </p:cNvSpPr>
          <p:nvPr>
            <p:ph type="body" sz="quarter" idx="10"/>
          </p:nvPr>
        </p:nvSpPr>
        <p:spPr/>
        <p:txBody>
          <a:bodyPr/>
          <a:lstStyle/>
          <a:p>
            <a:r>
              <a:rPr lang="en-US" dirty="0"/>
              <a:t>November 2022.</a:t>
            </a:r>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Subtitle 4">
            <a:extLst>
              <a:ext uri="{FF2B5EF4-FFF2-40B4-BE49-F238E27FC236}">
                <a16:creationId xmlns:a16="http://schemas.microsoft.com/office/drawing/2014/main" id="{A4B4A2A7-FE38-4C90-9943-C0DB255B87E6}"/>
              </a:ext>
            </a:extLst>
          </p:cNvPr>
          <p:cNvSpPr>
            <a:spLocks noGrp="1"/>
          </p:cNvSpPr>
          <p:nvPr>
            <p:ph type="subTitle" idx="1"/>
          </p:nvPr>
        </p:nvSpPr>
        <p:spPr/>
        <p:txBody>
          <a:bodyPr/>
          <a:lstStyle/>
          <a:p>
            <a:r>
              <a:rPr lang="en-US" dirty="0"/>
              <a:t>Computing Vision </a:t>
            </a:r>
          </a:p>
          <a:p>
            <a:r>
              <a:rPr lang="en-US" dirty="0"/>
              <a:t>Business Proposal</a:t>
            </a:r>
          </a:p>
        </p:txBody>
      </p:sp>
    </p:spTree>
    <p:extLst>
      <p:ext uri="{BB962C8B-B14F-4D97-AF65-F5344CB8AC3E}">
        <p14:creationId xmlns:p14="http://schemas.microsoft.com/office/powerpoint/2010/main" val="35194336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5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6135" y="558649"/>
            <a:ext cx="11252200" cy="505290"/>
          </a:xfrm>
        </p:spPr>
        <p:txBody>
          <a:bodyPr/>
          <a:lstStyle/>
          <a:p>
            <a:br>
              <a:rPr lang="en-US" dirty="0"/>
            </a:br>
            <a:br>
              <a:rPr lang="en-US" dirty="0"/>
            </a:br>
            <a:br>
              <a:rPr lang="en-US" dirty="0"/>
            </a:br>
            <a:r>
              <a:rPr lang="en-US" dirty="0"/>
              <a:t>The Findings</a:t>
            </a:r>
          </a:p>
        </p:txBody>
      </p:sp>
      <p:sp>
        <p:nvSpPr>
          <p:cNvPr id="3" name="Text Placeholder 2"/>
          <p:cNvSpPr>
            <a:spLocks noGrp="1"/>
          </p:cNvSpPr>
          <p:nvPr>
            <p:ph type="body" sz="quarter" idx="14"/>
          </p:nvPr>
        </p:nvSpPr>
        <p:spPr>
          <a:xfrm>
            <a:off x="536135" y="1388562"/>
            <a:ext cx="11290104" cy="475488"/>
          </a:xfrm>
        </p:spPr>
        <p:txBody>
          <a:bodyPr/>
          <a:lstStyle/>
          <a:p>
            <a:r>
              <a:rPr lang="en-US" dirty="0"/>
              <a:t>Budgets can go from just a couple of thousand dollars to hundred of millions!</a:t>
            </a:r>
          </a:p>
        </p:txBody>
      </p:sp>
      <p:sp>
        <p:nvSpPr>
          <p:cNvPr id="5" name="Text Placeholder 4"/>
          <p:cNvSpPr>
            <a:spLocks noGrp="1"/>
          </p:cNvSpPr>
          <p:nvPr>
            <p:ph type="body" sz="quarter" idx="15"/>
          </p:nvPr>
        </p:nvSpPr>
        <p:spPr/>
        <p:txBody>
          <a:bodyPr/>
          <a:lstStyle/>
          <a:p>
            <a:r>
              <a:rPr lang="en-US" dirty="0"/>
              <a:t>Data Exploration</a:t>
            </a:r>
          </a:p>
        </p:txBody>
      </p:sp>
      <p:grpSp>
        <p:nvGrpSpPr>
          <p:cNvPr id="9" name="Group 8">
            <a:extLst>
              <a:ext uri="{FF2B5EF4-FFF2-40B4-BE49-F238E27FC236}">
                <a16:creationId xmlns:a16="http://schemas.microsoft.com/office/drawing/2014/main" id="{ACD21CDC-32EF-3043-A927-FBEC03463981}"/>
              </a:ext>
            </a:extLst>
          </p:cNvPr>
          <p:cNvGrpSpPr/>
          <p:nvPr/>
        </p:nvGrpSpPr>
        <p:grpSpPr>
          <a:xfrm>
            <a:off x="486139" y="1634917"/>
            <a:ext cx="11079812" cy="4593775"/>
            <a:chOff x="914398" y="2080068"/>
            <a:chExt cx="10315028" cy="4101709"/>
          </a:xfrm>
        </p:grpSpPr>
        <p:sp>
          <p:nvSpPr>
            <p:cNvPr id="82" name="Rectangle 81"/>
            <p:cNvSpPr/>
            <p:nvPr/>
          </p:nvSpPr>
          <p:spPr>
            <a:xfrm>
              <a:off x="6131430" y="4293231"/>
              <a:ext cx="2455919" cy="1524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Per Capita Spend (Team Games)</a:t>
              </a:r>
            </a:p>
          </p:txBody>
        </p:sp>
        <p:sp>
          <p:nvSpPr>
            <p:cNvPr id="84" name="Rectangle 83"/>
            <p:cNvSpPr/>
            <p:nvPr/>
          </p:nvSpPr>
          <p:spPr>
            <a:xfrm>
              <a:off x="6131429" y="2473840"/>
              <a:ext cx="2455919" cy="15249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dirty="0">
                  <a:solidFill>
                    <a:prstClr val="white"/>
                  </a:solidFill>
                  <a:latin typeface="Open Sans"/>
                </a:rPr>
                <a:t>75</a:t>
              </a:r>
              <a:r>
                <a:rPr kumimoji="0" lang="en-US" sz="4800" b="0" i="0" u="none" strike="noStrike" kern="1200" cap="none" spc="0" normalizeH="0" baseline="0" noProof="0" dirty="0">
                  <a:ln>
                    <a:noFill/>
                  </a:ln>
                  <a:solidFill>
                    <a:prstClr val="white"/>
                  </a:solidFill>
                  <a:effectLst/>
                  <a:uLnTx/>
                  <a:uFillTx/>
                  <a:latin typeface="Open Sans"/>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Open Sans"/>
                </a:rPr>
                <a:t>Successful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 </a:t>
              </a:r>
              <a:r>
                <a:rPr lang="en-US" sz="1600" dirty="0">
                  <a:solidFill>
                    <a:prstClr val="white"/>
                  </a:solidFill>
                  <a:latin typeface="Open Sans"/>
                </a:rPr>
                <a:t>$30 million budget</a:t>
              </a:r>
              <a:endParaRPr kumimoji="0" lang="en-US"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8" name="TxtBox:392/196"/>
            <p:cNvSpPr/>
            <p:nvPr/>
          </p:nvSpPr>
          <p:spPr>
            <a:xfrm>
              <a:off x="9256118" y="2080068"/>
              <a:ext cx="1248625"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Key Takeaways</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1862370" y="2216257"/>
                <a:ext cx="2002985"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Percent of Movies with Revenues</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68" name="TextBox 167"/>
            <p:cNvSpPr txBox="1"/>
            <p:nvPr/>
          </p:nvSpPr>
          <p:spPr>
            <a:xfrm>
              <a:off x="914398" y="5989410"/>
              <a:ext cx="4925147" cy="1923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ased on </a:t>
              </a:r>
              <a:r>
                <a:rPr lang="en-US" sz="800" dirty="0">
                  <a:solidFill>
                    <a:prstClr val="black"/>
                  </a:solidFill>
                  <a:latin typeface="Open Sans"/>
                </a:rPr>
                <a:t>The Numbers dataset of production budget and worldwide gross.</a:t>
              </a:r>
              <a:endParaRPr kumimoji="0" lang="en-US" sz="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3" name="Rectangle 82"/>
            <p:cNvSpPr/>
            <p:nvPr/>
          </p:nvSpPr>
          <p:spPr>
            <a:xfrm>
              <a:off x="8773507" y="2477820"/>
              <a:ext cx="2455919" cy="84860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Open Sans"/>
                  <a:ea typeface="+mn-ea"/>
                  <a:cs typeface="+mn-cs"/>
                </a:rPr>
                <a:t>Low Budget</a:t>
              </a:r>
            </a:p>
            <a:p>
              <a:pPr algn="ctr">
                <a:defRPr/>
              </a:pPr>
              <a:r>
                <a:rPr lang="en-US" sz="2400" b="1" dirty="0">
                  <a:solidFill>
                    <a:prstClr val="white"/>
                  </a:solidFill>
                </a:rPr>
                <a:t>- $8 million </a:t>
              </a:r>
            </a:p>
          </p:txBody>
        </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71911"/>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Production budgets can go high.</a:t>
            </a:r>
          </a:p>
        </p:txBody>
      </p:sp>
      <p:pic>
        <p:nvPicPr>
          <p:cNvPr id="7" name="Picture 6" descr="A picture containing graphical user interface&#10;&#10;Description automatically generated">
            <a:extLst>
              <a:ext uri="{FF2B5EF4-FFF2-40B4-BE49-F238E27FC236}">
                <a16:creationId xmlns:a16="http://schemas.microsoft.com/office/drawing/2014/main" id="{E104F134-1FFA-4F7E-A447-663B3939C96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2116" y="1554749"/>
            <a:ext cx="8927943" cy="4463971"/>
          </a:xfrm>
          <a:prstGeom prst="rect">
            <a:avLst/>
          </a:prstGeom>
        </p:spPr>
      </p:pic>
      <p:sp>
        <p:nvSpPr>
          <p:cNvPr id="11" name="TextBox 10">
            <a:extLst>
              <a:ext uri="{FF2B5EF4-FFF2-40B4-BE49-F238E27FC236}">
                <a16:creationId xmlns:a16="http://schemas.microsoft.com/office/drawing/2014/main" id="{BFB2BD4F-FAE7-4462-8F7E-6C5DFA1629F2}"/>
              </a:ext>
            </a:extLst>
          </p:cNvPr>
          <p:cNvSpPr txBox="1"/>
          <p:nvPr/>
        </p:nvSpPr>
        <p:spPr>
          <a:xfrm>
            <a:off x="536135" y="4749288"/>
            <a:ext cx="547865" cy="923330"/>
          </a:xfrm>
          <a:prstGeom prst="rect">
            <a:avLst/>
          </a:prstGeom>
          <a:noFill/>
        </p:spPr>
        <p:txBody>
          <a:bodyPr vert="horz" wrap="square" lIns="0" tIns="0" rIns="0" bIns="0" rtlCol="0">
            <a:spAutoFit/>
          </a:bodyPr>
          <a:lstStyle/>
          <a:p>
            <a:pPr>
              <a:spcBef>
                <a:spcPts val="200"/>
              </a:spcBef>
              <a:buSzPct val="100000"/>
            </a:pPr>
            <a:r>
              <a:rPr lang="en-US" sz="1000" b="1" dirty="0"/>
              <a:t>(Yes, there are some points below 0)</a:t>
            </a:r>
          </a:p>
        </p:txBody>
      </p:sp>
      <p:sp>
        <p:nvSpPr>
          <p:cNvPr id="28" name="Rectangle 27">
            <a:extLst>
              <a:ext uri="{FF2B5EF4-FFF2-40B4-BE49-F238E27FC236}">
                <a16:creationId xmlns:a16="http://schemas.microsoft.com/office/drawing/2014/main" id="{B687568F-B254-464E-9BB4-97B28D0D6475}"/>
              </a:ext>
            </a:extLst>
          </p:cNvPr>
          <p:cNvSpPr/>
          <p:nvPr/>
        </p:nvSpPr>
        <p:spPr>
          <a:xfrm>
            <a:off x="8927943" y="3163181"/>
            <a:ext cx="2638008" cy="95040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Open Sans"/>
              </a:rPr>
              <a:t>Medium</a:t>
            </a:r>
            <a:r>
              <a:rPr kumimoji="0" lang="en-US" sz="2400" b="0" i="0" u="none" strike="noStrike" kern="1200" cap="none" spc="0" normalizeH="0" baseline="0" noProof="0" dirty="0">
                <a:ln>
                  <a:noFill/>
                </a:ln>
                <a:solidFill>
                  <a:prstClr val="white"/>
                </a:solidFill>
                <a:effectLst/>
                <a:uLnTx/>
                <a:uFillTx/>
                <a:latin typeface="Open Sans"/>
                <a:ea typeface="+mn-ea"/>
                <a:cs typeface="+mn-cs"/>
              </a:rPr>
              <a:t> Budget</a:t>
            </a:r>
          </a:p>
          <a:p>
            <a:pPr algn="ctr">
              <a:defRPr/>
            </a:pPr>
            <a:r>
              <a:rPr lang="en-US" sz="2400" b="1" dirty="0">
                <a:solidFill>
                  <a:prstClr val="white"/>
                </a:solidFill>
              </a:rPr>
              <a:t>&lt; $29 million </a:t>
            </a:r>
          </a:p>
        </p:txBody>
      </p:sp>
      <p:sp>
        <p:nvSpPr>
          <p:cNvPr id="29" name="Rectangle 28">
            <a:extLst>
              <a:ext uri="{FF2B5EF4-FFF2-40B4-BE49-F238E27FC236}">
                <a16:creationId xmlns:a16="http://schemas.microsoft.com/office/drawing/2014/main" id="{716AA610-A62D-44D3-B26D-9A941B01848D}"/>
              </a:ext>
            </a:extLst>
          </p:cNvPr>
          <p:cNvSpPr/>
          <p:nvPr/>
        </p:nvSpPr>
        <p:spPr>
          <a:xfrm>
            <a:off x="8927943" y="4244791"/>
            <a:ext cx="2638008" cy="9504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Open Sans"/>
                <a:ea typeface="+mn-ea"/>
                <a:cs typeface="+mn-cs"/>
              </a:rPr>
              <a:t>High Budget</a:t>
            </a:r>
          </a:p>
          <a:p>
            <a:pPr algn="ctr">
              <a:defRPr/>
            </a:pPr>
            <a:r>
              <a:rPr lang="en-US" sz="2400" b="1" dirty="0">
                <a:solidFill>
                  <a:prstClr val="white"/>
                </a:solidFill>
              </a:rPr>
              <a:t>&gt; $30 million </a:t>
            </a:r>
          </a:p>
        </p:txBody>
      </p:sp>
      <p:sp>
        <p:nvSpPr>
          <p:cNvPr id="22" name="Rectangle 21">
            <a:extLst>
              <a:ext uri="{FF2B5EF4-FFF2-40B4-BE49-F238E27FC236}">
                <a16:creationId xmlns:a16="http://schemas.microsoft.com/office/drawing/2014/main" id="{5C804D5B-1E81-4340-9512-336F340E5421}"/>
              </a:ext>
            </a:extLst>
          </p:cNvPr>
          <p:cNvSpPr/>
          <p:nvPr/>
        </p:nvSpPr>
        <p:spPr>
          <a:xfrm>
            <a:off x="8927943" y="2080386"/>
            <a:ext cx="2638007" cy="95040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Open Sans"/>
                <a:ea typeface="+mn-ea"/>
                <a:cs typeface="+mn-cs"/>
              </a:rPr>
              <a:t>Low Budget</a:t>
            </a:r>
          </a:p>
          <a:p>
            <a:pPr algn="ctr">
              <a:defRPr/>
            </a:pPr>
            <a:r>
              <a:rPr lang="en-US" sz="2400" b="1" dirty="0">
                <a:solidFill>
                  <a:prstClr val="white"/>
                </a:solidFill>
              </a:rPr>
              <a:t>&lt; $8 million </a:t>
            </a:r>
          </a:p>
        </p:txBody>
      </p:sp>
    </p:spTree>
    <p:extLst>
      <p:ext uri="{BB962C8B-B14F-4D97-AF65-F5344CB8AC3E}">
        <p14:creationId xmlns:p14="http://schemas.microsoft.com/office/powerpoint/2010/main" val="7182785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3"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br>
            <a:br>
              <a:rPr lang="en-US" dirty="0"/>
            </a:br>
            <a:br>
              <a:rPr lang="en-US" dirty="0"/>
            </a:br>
            <a:r>
              <a:rPr lang="en-US" dirty="0"/>
              <a:t>The Findings</a:t>
            </a:r>
          </a:p>
        </p:txBody>
      </p:sp>
      <p:sp>
        <p:nvSpPr>
          <p:cNvPr id="3" name="Text Placeholder 2"/>
          <p:cNvSpPr>
            <a:spLocks noGrp="1"/>
          </p:cNvSpPr>
          <p:nvPr>
            <p:ph type="body" sz="quarter" idx="14"/>
          </p:nvPr>
        </p:nvSpPr>
        <p:spPr>
          <a:xfrm>
            <a:off x="536135" y="1333881"/>
            <a:ext cx="11290104" cy="475488"/>
          </a:xfrm>
        </p:spPr>
        <p:txBody>
          <a:bodyPr/>
          <a:lstStyle/>
          <a:p>
            <a:r>
              <a:rPr lang="en-US" dirty="0"/>
              <a:t>High density of movies doesn’t get any amount of ROI.</a:t>
            </a:r>
          </a:p>
        </p:txBody>
      </p:sp>
      <p:sp>
        <p:nvSpPr>
          <p:cNvPr id="5" name="Text Placeholder 4"/>
          <p:cNvSpPr>
            <a:spLocks noGrp="1"/>
          </p:cNvSpPr>
          <p:nvPr>
            <p:ph type="body" sz="quarter" idx="15"/>
          </p:nvPr>
        </p:nvSpPr>
        <p:spPr/>
        <p:txBody>
          <a:bodyPr/>
          <a:lstStyle/>
          <a:p>
            <a:r>
              <a:rPr lang="en-US" dirty="0"/>
              <a:t>Data Exploration</a:t>
            </a:r>
          </a:p>
        </p:txBody>
      </p:sp>
      <p:grpSp>
        <p:nvGrpSpPr>
          <p:cNvPr id="9" name="Group 8">
            <a:extLst>
              <a:ext uri="{FF2B5EF4-FFF2-40B4-BE49-F238E27FC236}">
                <a16:creationId xmlns:a16="http://schemas.microsoft.com/office/drawing/2014/main" id="{ACD21CDC-32EF-3043-A927-FBEC03463981}"/>
              </a:ext>
            </a:extLst>
          </p:cNvPr>
          <p:cNvGrpSpPr/>
          <p:nvPr/>
        </p:nvGrpSpPr>
        <p:grpSpPr>
          <a:xfrm>
            <a:off x="486139" y="2066698"/>
            <a:ext cx="10301399" cy="4593775"/>
            <a:chOff x="914398" y="2080068"/>
            <a:chExt cx="9590345" cy="4101709"/>
          </a:xfrm>
        </p:grpSpPr>
        <p:sp>
          <p:nvSpPr>
            <p:cNvPr id="82" name="Rectangle 81"/>
            <p:cNvSpPr/>
            <p:nvPr/>
          </p:nvSpPr>
          <p:spPr>
            <a:xfrm>
              <a:off x="6131430" y="4293231"/>
              <a:ext cx="2455919" cy="1524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10.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Increase in Per Capita Spend (Team Games)</a:t>
              </a:r>
            </a:p>
          </p:txBody>
        </p:sp>
        <p:sp>
          <p:nvSpPr>
            <p:cNvPr id="84" name="Rectangle 83"/>
            <p:cNvSpPr/>
            <p:nvPr/>
          </p:nvSpPr>
          <p:spPr>
            <a:xfrm>
              <a:off x="6131429" y="2473840"/>
              <a:ext cx="2455919" cy="15249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dirty="0">
                  <a:solidFill>
                    <a:prstClr val="white"/>
                  </a:solidFill>
                  <a:latin typeface="Open Sans"/>
                </a:rPr>
                <a:t>75</a:t>
              </a:r>
              <a:r>
                <a:rPr kumimoji="0" lang="en-US" sz="4800" b="0" i="0" u="none" strike="noStrike" kern="1200" cap="none" spc="0" normalizeH="0" baseline="0" noProof="0" dirty="0">
                  <a:ln>
                    <a:noFill/>
                  </a:ln>
                  <a:solidFill>
                    <a:prstClr val="white"/>
                  </a:solidFill>
                  <a:effectLst/>
                  <a:uLnTx/>
                  <a:uFillTx/>
                  <a:latin typeface="Open Sans"/>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Open Sans"/>
                </a:rPr>
                <a:t>Successful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 </a:t>
              </a:r>
              <a:r>
                <a:rPr lang="en-US" sz="1600" dirty="0">
                  <a:solidFill>
                    <a:prstClr val="white"/>
                  </a:solidFill>
                  <a:latin typeface="Open Sans"/>
                </a:rPr>
                <a:t>$30 million budget</a:t>
              </a:r>
              <a:endParaRPr kumimoji="0" lang="en-US"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8" name="TxtBox:392/196"/>
            <p:cNvSpPr/>
            <p:nvPr/>
          </p:nvSpPr>
          <p:spPr>
            <a:xfrm>
              <a:off x="9256118" y="2080068"/>
              <a:ext cx="1248625"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Key Takeaways</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1862370" y="2216257"/>
                <a:ext cx="2002985"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Percent of Movies with Revenues</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68" name="TextBox 167"/>
            <p:cNvSpPr txBox="1"/>
            <p:nvPr/>
          </p:nvSpPr>
          <p:spPr>
            <a:xfrm>
              <a:off x="914398" y="5989410"/>
              <a:ext cx="4925147" cy="1923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ased on </a:t>
              </a:r>
              <a:r>
                <a:rPr lang="en-US" sz="800" dirty="0">
                  <a:solidFill>
                    <a:prstClr val="black"/>
                  </a:solidFill>
                  <a:latin typeface="Open Sans"/>
                </a:rPr>
                <a:t>The Numbers dataset of production budget and worldwide gross.</a:t>
              </a:r>
              <a:endParaRPr kumimoji="0" lang="en-US" sz="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50953"/>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Not all movies have profits.</a:t>
            </a:r>
          </a:p>
        </p:txBody>
      </p:sp>
      <p:pic>
        <p:nvPicPr>
          <p:cNvPr id="15" name="Picture 14" descr="Chart, histogram&#10;&#10;Description automatically generated">
            <a:extLst>
              <a:ext uri="{FF2B5EF4-FFF2-40B4-BE49-F238E27FC236}">
                <a16:creationId xmlns:a16="http://schemas.microsoft.com/office/drawing/2014/main" id="{C542BCE3-D270-4740-A970-67512AAC61E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678" y="1633861"/>
            <a:ext cx="9330678" cy="4665339"/>
          </a:xfrm>
          <a:prstGeom prst="rect">
            <a:avLst/>
          </a:prstGeom>
        </p:spPr>
      </p:pic>
      <p:sp>
        <p:nvSpPr>
          <p:cNvPr id="28" name="Rectangle 27">
            <a:extLst>
              <a:ext uri="{FF2B5EF4-FFF2-40B4-BE49-F238E27FC236}">
                <a16:creationId xmlns:a16="http://schemas.microsoft.com/office/drawing/2014/main" id="{B687568F-B254-464E-9BB4-97B28D0D6475}"/>
              </a:ext>
            </a:extLst>
          </p:cNvPr>
          <p:cNvSpPr/>
          <p:nvPr/>
        </p:nvSpPr>
        <p:spPr>
          <a:xfrm>
            <a:off x="8927944" y="2379612"/>
            <a:ext cx="2638008" cy="217079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Open Sans"/>
              </a:rPr>
              <a:t>There is a significant number of movies that are not profitable.</a:t>
            </a:r>
            <a:endParaRPr lang="en-US" sz="2400" b="1" dirty="0">
              <a:solidFill>
                <a:prstClr val="white"/>
              </a:solidFill>
            </a:endParaRPr>
          </a:p>
        </p:txBody>
      </p:sp>
      <p:sp>
        <p:nvSpPr>
          <p:cNvPr id="11" name="TextBox 10">
            <a:extLst>
              <a:ext uri="{FF2B5EF4-FFF2-40B4-BE49-F238E27FC236}">
                <a16:creationId xmlns:a16="http://schemas.microsoft.com/office/drawing/2014/main" id="{BFB2BD4F-FAE7-4462-8F7E-6C5DFA1629F2}"/>
              </a:ext>
            </a:extLst>
          </p:cNvPr>
          <p:cNvSpPr txBox="1"/>
          <p:nvPr/>
        </p:nvSpPr>
        <p:spPr>
          <a:xfrm>
            <a:off x="7760627" y="6409196"/>
            <a:ext cx="2743064" cy="184666"/>
          </a:xfrm>
          <a:prstGeom prst="rect">
            <a:avLst/>
          </a:prstGeom>
          <a:noFill/>
        </p:spPr>
        <p:txBody>
          <a:bodyPr vert="horz" wrap="square" lIns="0" tIns="0" rIns="0" bIns="0" rtlCol="0">
            <a:spAutoFit/>
          </a:bodyPr>
          <a:lstStyle/>
          <a:p>
            <a:pPr>
              <a:spcBef>
                <a:spcPts val="200"/>
              </a:spcBef>
              <a:buSzPct val="100000"/>
            </a:pPr>
            <a:r>
              <a:rPr lang="en-US" sz="1200" b="1" dirty="0"/>
              <a:t>It keeps going! </a:t>
            </a:r>
          </a:p>
        </p:txBody>
      </p:sp>
      <p:cxnSp>
        <p:nvCxnSpPr>
          <p:cNvPr id="13" name="Straight Arrow Connector 12">
            <a:extLst>
              <a:ext uri="{FF2B5EF4-FFF2-40B4-BE49-F238E27FC236}">
                <a16:creationId xmlns:a16="http://schemas.microsoft.com/office/drawing/2014/main" id="{C6D4F9E6-D42B-47E0-BC0D-ABBF4E094DEE}"/>
              </a:ext>
            </a:extLst>
          </p:cNvPr>
          <p:cNvCxnSpPr/>
          <p:nvPr/>
        </p:nvCxnSpPr>
        <p:spPr>
          <a:xfrm>
            <a:off x="7513504" y="6320576"/>
            <a:ext cx="158642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3" name="Rectangle 32">
            <a:extLst>
              <a:ext uri="{FF2B5EF4-FFF2-40B4-BE49-F238E27FC236}">
                <a16:creationId xmlns:a16="http://schemas.microsoft.com/office/drawing/2014/main" id="{45C54474-5F05-4510-813E-B89A1AF6AF10}"/>
              </a:ext>
            </a:extLst>
          </p:cNvPr>
          <p:cNvSpPr/>
          <p:nvPr/>
        </p:nvSpPr>
        <p:spPr>
          <a:xfrm>
            <a:off x="8927944" y="4678659"/>
            <a:ext cx="2638007" cy="9742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dirty="0">
                <a:solidFill>
                  <a:prstClr val="white"/>
                </a:solidFill>
                <a:latin typeface="Open Sans"/>
              </a:rPr>
              <a:t>36%</a:t>
            </a:r>
          </a:p>
        </p:txBody>
      </p:sp>
    </p:spTree>
    <p:extLst>
      <p:ext uri="{BB962C8B-B14F-4D97-AF65-F5344CB8AC3E}">
        <p14:creationId xmlns:p14="http://schemas.microsoft.com/office/powerpoint/2010/main" val="42537921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br>
            <a:br>
              <a:rPr lang="en-US" dirty="0"/>
            </a:br>
            <a:br>
              <a:rPr lang="en-US" dirty="0"/>
            </a:br>
            <a:r>
              <a:rPr lang="en-US" dirty="0"/>
              <a:t>The Findings</a:t>
            </a:r>
          </a:p>
        </p:txBody>
      </p:sp>
      <p:sp>
        <p:nvSpPr>
          <p:cNvPr id="3" name="Text Placeholder 2"/>
          <p:cNvSpPr>
            <a:spLocks noGrp="1"/>
          </p:cNvSpPr>
          <p:nvPr>
            <p:ph type="body" sz="quarter" idx="14"/>
          </p:nvPr>
        </p:nvSpPr>
        <p:spPr>
          <a:xfrm>
            <a:off x="528577" y="1379249"/>
            <a:ext cx="11290104" cy="475488"/>
          </a:xfrm>
        </p:spPr>
        <p:txBody>
          <a:bodyPr/>
          <a:lstStyle/>
          <a:p>
            <a:r>
              <a:rPr lang="en-US" dirty="0"/>
              <a:t>From a dataset of almost 6,000 movies, we found that 75% of movies with a high budget ( + $30 million budget) had an actual profit, vs 51% of low budget movies (- $8 million budget)</a:t>
            </a:r>
          </a:p>
        </p:txBody>
      </p:sp>
      <p:sp>
        <p:nvSpPr>
          <p:cNvPr id="5" name="Text Placeholder 4"/>
          <p:cNvSpPr>
            <a:spLocks noGrp="1"/>
          </p:cNvSpPr>
          <p:nvPr>
            <p:ph type="body" sz="quarter" idx="15"/>
          </p:nvPr>
        </p:nvSpPr>
        <p:spPr/>
        <p:txBody>
          <a:bodyPr/>
          <a:lstStyle/>
          <a:p>
            <a:r>
              <a:rPr lang="en-US" dirty="0"/>
              <a:t>Data Exploration</a:t>
            </a:r>
          </a:p>
        </p:txBody>
      </p:sp>
      <p:pic>
        <p:nvPicPr>
          <p:cNvPr id="11" name="Picture 10" descr="Chart, bar chart&#10;&#10;Description automatically generated">
            <a:extLst>
              <a:ext uri="{FF2B5EF4-FFF2-40B4-BE49-F238E27FC236}">
                <a16:creationId xmlns:a16="http://schemas.microsoft.com/office/drawing/2014/main" id="{10D93D50-2CEA-4A41-9D12-A0398D6AEEE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854737"/>
            <a:ext cx="6971685" cy="4357303"/>
          </a:xfrm>
          <a:prstGeom prst="rect">
            <a:avLst/>
          </a:prstGeom>
        </p:spPr>
      </p:pic>
      <p:grpSp>
        <p:nvGrpSpPr>
          <p:cNvPr id="9" name="Group 8">
            <a:extLst>
              <a:ext uri="{FF2B5EF4-FFF2-40B4-BE49-F238E27FC236}">
                <a16:creationId xmlns:a16="http://schemas.microsoft.com/office/drawing/2014/main" id="{ACD21CDC-32EF-3043-A927-FBEC03463981}"/>
              </a:ext>
            </a:extLst>
          </p:cNvPr>
          <p:cNvGrpSpPr/>
          <p:nvPr/>
        </p:nvGrpSpPr>
        <p:grpSpPr>
          <a:xfrm>
            <a:off x="528577" y="1884368"/>
            <a:ext cx="11134845" cy="4593775"/>
            <a:chOff x="914398" y="2080068"/>
            <a:chExt cx="10366261" cy="4101709"/>
          </a:xfrm>
        </p:grpSpPr>
        <p:sp>
          <p:nvSpPr>
            <p:cNvPr id="83" name="Rectangle 82"/>
            <p:cNvSpPr/>
            <p:nvPr/>
          </p:nvSpPr>
          <p:spPr>
            <a:xfrm>
              <a:off x="9231062" y="4168256"/>
              <a:ext cx="1794875" cy="152495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Successful Rat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Open Sans"/>
                </a:rPr>
                <a:t>- $8 million budget</a:t>
              </a:r>
              <a:endParaRPr kumimoji="0" lang="en-US"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4" name="Rectangle 83"/>
            <p:cNvSpPr/>
            <p:nvPr/>
          </p:nvSpPr>
          <p:spPr>
            <a:xfrm>
              <a:off x="6562198" y="2501993"/>
              <a:ext cx="4463737" cy="15249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dirty="0">
                  <a:solidFill>
                    <a:prstClr val="white"/>
                  </a:solidFill>
                  <a:latin typeface="Open Sans"/>
                </a:rPr>
                <a:t>75</a:t>
              </a:r>
              <a:r>
                <a:rPr kumimoji="0" lang="en-US" sz="4800" b="0" i="0" u="none" strike="noStrike" kern="1200" cap="none" spc="0" normalizeH="0" baseline="0" noProof="0" dirty="0">
                  <a:ln>
                    <a:noFill/>
                  </a:ln>
                  <a:solidFill>
                    <a:prstClr val="white"/>
                  </a:solidFill>
                  <a:effectLst/>
                  <a:uLnTx/>
                  <a:uFillTx/>
                  <a:latin typeface="Open Sans"/>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Open Sans"/>
                </a:rPr>
                <a:t>Successful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 </a:t>
              </a:r>
              <a:r>
                <a:rPr lang="en-US" sz="1600" dirty="0">
                  <a:solidFill>
                    <a:prstClr val="white"/>
                  </a:solidFill>
                  <a:latin typeface="Open Sans"/>
                </a:rPr>
                <a:t>$30 million budget</a:t>
              </a:r>
              <a:endParaRPr kumimoji="0" lang="en-US"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5" name="Rectangle 84"/>
            <p:cNvSpPr/>
            <p:nvPr/>
          </p:nvSpPr>
          <p:spPr>
            <a:xfrm>
              <a:off x="6562198" y="4168256"/>
              <a:ext cx="2494503" cy="15249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Open Sans"/>
                  <a:ea typeface="+mn-ea"/>
                  <a:cs typeface="+mn-cs"/>
                </a:rPr>
                <a:t>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Open Sans"/>
                </a:rPr>
                <a:t>Successful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Open Sans"/>
                  <a:ea typeface="+mn-ea"/>
                  <a:cs typeface="+mn-cs"/>
                </a:rPr>
                <a:t>+ $8 million &amp; - $30 million</a:t>
              </a:r>
            </a:p>
          </p:txBody>
        </p:sp>
        <p:grpSp>
          <p:nvGrpSpPr>
            <p:cNvPr id="86" name="Group 85"/>
            <p:cNvGrpSpPr/>
            <p:nvPr/>
          </p:nvGrpSpPr>
          <p:grpSpPr>
            <a:xfrm>
              <a:off x="6080194" y="2080068"/>
              <a:ext cx="5200465" cy="164885"/>
              <a:chOff x="4978400" y="2216257"/>
              <a:chExt cx="6299200" cy="164885"/>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371787" y="2216257"/>
                <a:ext cx="1512428"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Key Takeaways</a:t>
                </a:r>
              </a:p>
            </p:txBody>
          </p:sp>
        </p:gr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1947427" y="2216257"/>
                <a:ext cx="1832865"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Percent of Movies with Profits</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68" name="TextBox 167"/>
            <p:cNvSpPr txBox="1"/>
            <p:nvPr/>
          </p:nvSpPr>
          <p:spPr>
            <a:xfrm>
              <a:off x="914398" y="5989410"/>
              <a:ext cx="4925147" cy="1923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ased on </a:t>
              </a:r>
              <a:r>
                <a:rPr lang="en-US" sz="800" dirty="0">
                  <a:solidFill>
                    <a:prstClr val="black"/>
                  </a:solidFill>
                  <a:latin typeface="Open Sans"/>
                </a:rPr>
                <a:t>The Numbers dataset of production budget and worldwide gross.</a:t>
              </a:r>
              <a:endParaRPr kumimoji="0" lang="en-US" sz="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59886"/>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But high budget movies tends to have a higher successful rate.</a:t>
            </a:r>
          </a:p>
        </p:txBody>
      </p:sp>
    </p:spTree>
    <p:extLst>
      <p:ext uri="{BB962C8B-B14F-4D97-AF65-F5344CB8AC3E}">
        <p14:creationId xmlns:p14="http://schemas.microsoft.com/office/powerpoint/2010/main" val="4045028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3"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br>
              <a:rPr lang="en-US" dirty="0"/>
            </a:br>
            <a:br>
              <a:rPr lang="en-US" dirty="0"/>
            </a:br>
            <a:br>
              <a:rPr lang="en-US" dirty="0"/>
            </a:br>
            <a:r>
              <a:rPr lang="en-US" dirty="0"/>
              <a:t>The Findings</a:t>
            </a:r>
          </a:p>
        </p:txBody>
      </p:sp>
      <p:sp>
        <p:nvSpPr>
          <p:cNvPr id="3" name="Text Placeholder 2"/>
          <p:cNvSpPr>
            <a:spLocks noGrp="1"/>
          </p:cNvSpPr>
          <p:nvPr>
            <p:ph type="body" sz="quarter" idx="14"/>
          </p:nvPr>
        </p:nvSpPr>
        <p:spPr>
          <a:xfrm>
            <a:off x="536135" y="1298920"/>
            <a:ext cx="11290104" cy="475488"/>
          </a:xfrm>
        </p:spPr>
        <p:txBody>
          <a:bodyPr/>
          <a:lstStyle/>
          <a:p>
            <a:r>
              <a:rPr lang="en-US" dirty="0"/>
              <a:t>Even though low budget movies have a successful rate of 51%, the average ROI is much higher than the rest of the movies.</a:t>
            </a:r>
          </a:p>
        </p:txBody>
      </p:sp>
      <p:sp>
        <p:nvSpPr>
          <p:cNvPr id="5" name="Text Placeholder 4"/>
          <p:cNvSpPr>
            <a:spLocks noGrp="1"/>
          </p:cNvSpPr>
          <p:nvPr>
            <p:ph type="body" sz="quarter" idx="15"/>
          </p:nvPr>
        </p:nvSpPr>
        <p:spPr/>
        <p:txBody>
          <a:bodyPr/>
          <a:lstStyle/>
          <a:p>
            <a:r>
              <a:rPr lang="en-US" dirty="0"/>
              <a:t>Data Exploration</a:t>
            </a:r>
          </a:p>
        </p:txBody>
      </p:sp>
      <p:pic>
        <p:nvPicPr>
          <p:cNvPr id="8" name="Picture 7" descr="Chart&#10;&#10;Description automatically generated">
            <a:extLst>
              <a:ext uri="{FF2B5EF4-FFF2-40B4-BE49-F238E27FC236}">
                <a16:creationId xmlns:a16="http://schemas.microsoft.com/office/drawing/2014/main" id="{4C82A7BC-AC89-475D-8E1F-A2C9DD599A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937684"/>
            <a:ext cx="6796069" cy="4247544"/>
          </a:xfrm>
          <a:prstGeom prst="rect">
            <a:avLst/>
          </a:prstGeom>
        </p:spPr>
      </p:pic>
      <p:grpSp>
        <p:nvGrpSpPr>
          <p:cNvPr id="9" name="Group 8">
            <a:extLst>
              <a:ext uri="{FF2B5EF4-FFF2-40B4-BE49-F238E27FC236}">
                <a16:creationId xmlns:a16="http://schemas.microsoft.com/office/drawing/2014/main" id="{ACD21CDC-32EF-3043-A927-FBEC03463981}"/>
              </a:ext>
            </a:extLst>
          </p:cNvPr>
          <p:cNvGrpSpPr/>
          <p:nvPr/>
        </p:nvGrpSpPr>
        <p:grpSpPr>
          <a:xfrm>
            <a:off x="528577" y="1845351"/>
            <a:ext cx="11134845" cy="4593775"/>
            <a:chOff x="914398" y="2080068"/>
            <a:chExt cx="10366261" cy="4101709"/>
          </a:xfrm>
        </p:grpSpPr>
        <p:sp>
          <p:nvSpPr>
            <p:cNvPr id="83" name="Rectangle 82"/>
            <p:cNvSpPr/>
            <p:nvPr/>
          </p:nvSpPr>
          <p:spPr>
            <a:xfrm>
              <a:off x="9231062" y="4168256"/>
              <a:ext cx="1794875" cy="1524957"/>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dirty="0">
                  <a:solidFill>
                    <a:prstClr val="white"/>
                  </a:solidFill>
                  <a:latin typeface="Open Sans"/>
                </a:rPr>
                <a:t>1.63</a:t>
              </a:r>
              <a:endParaRPr kumimoji="0" lang="en-US" sz="4800" b="0"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ROI</a:t>
              </a: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High Budget Movies</a:t>
              </a:r>
            </a:p>
          </p:txBody>
        </p:sp>
        <p:sp>
          <p:nvSpPr>
            <p:cNvPr id="84" name="Rectangle 83"/>
            <p:cNvSpPr/>
            <p:nvPr/>
          </p:nvSpPr>
          <p:spPr>
            <a:xfrm>
              <a:off x="6562198" y="2501993"/>
              <a:ext cx="4463737" cy="152495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dirty="0">
                  <a:solidFill>
                    <a:prstClr val="white"/>
                  </a:solidFill>
                  <a:latin typeface="Open Sans"/>
                </a:rPr>
                <a:t>7.69</a:t>
              </a:r>
              <a:endParaRPr kumimoji="0" lang="en-US" sz="4800" b="0"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RO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Open Sans"/>
                </a:rPr>
                <a:t>Low Budget Movies</a:t>
              </a:r>
              <a:endParaRPr kumimoji="0" lang="en-US" sz="16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5" name="Rectangle 84"/>
            <p:cNvSpPr/>
            <p:nvPr/>
          </p:nvSpPr>
          <p:spPr>
            <a:xfrm>
              <a:off x="6562198" y="4168256"/>
              <a:ext cx="2494503" cy="15249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dirty="0">
                  <a:solidFill>
                    <a:prstClr val="white"/>
                  </a:solidFill>
                  <a:latin typeface="Open Sans"/>
                </a:rPr>
                <a:t>2.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RO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a:solidFill>
                    <a:prstClr val="white"/>
                  </a:solidFill>
                  <a:latin typeface="Open Sans"/>
                </a:rPr>
                <a:t>Medium Budget Movies</a:t>
              </a:r>
              <a:endParaRPr kumimoji="0" lang="en-US" sz="15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86" name="Group 85"/>
            <p:cNvGrpSpPr/>
            <p:nvPr/>
          </p:nvGrpSpPr>
          <p:grpSpPr>
            <a:xfrm>
              <a:off x="6080194" y="2080068"/>
              <a:ext cx="5200465" cy="164885"/>
              <a:chOff x="4978400" y="2216257"/>
              <a:chExt cx="6299200" cy="164885"/>
            </a:xfrm>
          </p:grpSpPr>
          <p:cxnSp>
            <p:nvCxnSpPr>
              <p:cNvPr id="87" name="iBar:392/196"/>
              <p:cNvCxnSpPr/>
              <p:nvPr/>
            </p:nvCxnSpPr>
            <p:spPr>
              <a:xfrm>
                <a:off x="4978400" y="2298700"/>
                <a:ext cx="62992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xtBox:392/196"/>
              <p:cNvSpPr/>
              <p:nvPr/>
            </p:nvSpPr>
            <p:spPr>
              <a:xfrm>
                <a:off x="7371787" y="2216257"/>
                <a:ext cx="1512428"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Key Takeaways</a:t>
                </a:r>
              </a:p>
            </p:txBody>
          </p:sp>
        </p:gr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435445" y="2216257"/>
                <a:ext cx="856842"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Average ROI </a:t>
                </a:r>
              </a:p>
            </p:txBody>
          </p:sp>
        </p:grpSp>
        <p:sp>
          <p:nvSpPr>
            <p:cNvPr id="168" name="TextBox 167"/>
            <p:cNvSpPr txBox="1"/>
            <p:nvPr/>
          </p:nvSpPr>
          <p:spPr>
            <a:xfrm>
              <a:off x="914398" y="5989410"/>
              <a:ext cx="4925147" cy="1923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a:ea typeface="+mn-ea"/>
                  <a:cs typeface="+mn-cs"/>
                </a:rPr>
                <a:t>*Based on </a:t>
              </a:r>
              <a:r>
                <a:rPr lang="en-US" sz="800" dirty="0">
                  <a:solidFill>
                    <a:prstClr val="black"/>
                  </a:solidFill>
                  <a:latin typeface="Open Sans"/>
                </a:rPr>
                <a:t>The Numbers dataset of production budget and worldwide gross.</a:t>
              </a:r>
              <a:endParaRPr kumimoji="0" lang="en-US" sz="800" b="0" i="0" u="none" strike="noStrike" kern="1200" cap="none" spc="0" normalizeH="0" baseline="0" noProof="0" dirty="0">
                <a:ln>
                  <a:noFill/>
                </a:ln>
                <a:solidFill>
                  <a:prstClr val="black"/>
                </a:solidFill>
                <a:effectLst/>
                <a:uLnTx/>
                <a:uFillTx/>
                <a:latin typeface="Open Sans"/>
                <a:ea typeface="+mn-ea"/>
                <a:cs typeface="+mn-cs"/>
              </a:endParaRPr>
            </a:p>
          </p:txBody>
        </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50744"/>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The ROI is significantly higher for low budget movies.</a:t>
            </a:r>
          </a:p>
        </p:txBody>
      </p:sp>
    </p:spTree>
    <p:extLst>
      <p:ext uri="{BB962C8B-B14F-4D97-AF65-F5344CB8AC3E}">
        <p14:creationId xmlns:p14="http://schemas.microsoft.com/office/powerpoint/2010/main" val="212148607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8" y="1581632"/>
            <a:ext cx="4879628" cy="3276118"/>
          </a:xfrm>
        </p:spPr>
        <p:txBody>
          <a:bodyPr/>
          <a:lstStyle/>
          <a:p>
            <a:r>
              <a:rPr lang="en-US" dirty="0"/>
              <a:t>The Recommendation</a:t>
            </a:r>
          </a:p>
        </p:txBody>
      </p:sp>
    </p:spTree>
    <p:extLst>
      <p:ext uri="{BB962C8B-B14F-4D97-AF65-F5344CB8AC3E}">
        <p14:creationId xmlns:p14="http://schemas.microsoft.com/office/powerpoint/2010/main" val="157205911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75176" y="558800"/>
            <a:ext cx="11145593" cy="505290"/>
          </a:xfrm>
        </p:spPr>
        <p:txBody>
          <a:bodyPr/>
          <a:lstStyle/>
          <a:p>
            <a:br>
              <a:rPr lang="en-US" dirty="0"/>
            </a:br>
            <a:br>
              <a:rPr lang="en-US" dirty="0"/>
            </a:br>
            <a:br>
              <a:rPr lang="en-US" dirty="0"/>
            </a:br>
            <a:endParaRPr lang="en-US" b="0" i="1" dirty="0"/>
          </a:p>
        </p:txBody>
      </p:sp>
      <p:sp>
        <p:nvSpPr>
          <p:cNvPr id="5" name="Text Placeholder 4"/>
          <p:cNvSpPr>
            <a:spLocks noGrp="1"/>
          </p:cNvSpPr>
          <p:nvPr>
            <p:ph type="body" sz="quarter" idx="15"/>
          </p:nvPr>
        </p:nvSpPr>
        <p:spPr>
          <a:xfrm>
            <a:off x="536135" y="267306"/>
            <a:ext cx="4703575" cy="176869"/>
          </a:xfrm>
        </p:spPr>
        <p:txBody>
          <a:bodyPr/>
          <a:lstStyle/>
          <a:p>
            <a:r>
              <a:rPr lang="en-US" dirty="0"/>
              <a:t>The recommendation</a:t>
            </a:r>
          </a:p>
        </p:txBody>
      </p:sp>
      <p:sp>
        <p:nvSpPr>
          <p:cNvPr id="3" name="Rectangle 2">
            <a:extLst>
              <a:ext uri="{FF2B5EF4-FFF2-40B4-BE49-F238E27FC236}">
                <a16:creationId xmlns:a16="http://schemas.microsoft.com/office/drawing/2014/main" id="{152A077B-3250-428B-B5D1-A5E529BDA718}"/>
              </a:ext>
            </a:extLst>
          </p:cNvPr>
          <p:cNvSpPr/>
          <p:nvPr/>
        </p:nvSpPr>
        <p:spPr bwMode="gray">
          <a:xfrm>
            <a:off x="1740667" y="1210894"/>
            <a:ext cx="8982420" cy="4583016"/>
          </a:xfrm>
          <a:prstGeom prst="rect">
            <a:avLst/>
          </a:prstGeom>
          <a:ln w="76200">
            <a:solidFill>
              <a:schemeClr val="bg1"/>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800" b="1" dirty="0">
                <a:solidFill>
                  <a:schemeClr val="accent1"/>
                </a:solidFill>
              </a:rPr>
              <a:t>Diversify!</a:t>
            </a:r>
          </a:p>
        </p:txBody>
      </p:sp>
      <p:cxnSp>
        <p:nvCxnSpPr>
          <p:cNvPr id="15" name="Straight Connector 14">
            <a:extLst>
              <a:ext uri="{FF2B5EF4-FFF2-40B4-BE49-F238E27FC236}">
                <a16:creationId xmlns:a16="http://schemas.microsoft.com/office/drawing/2014/main" id="{9BDEB36B-DBB6-4D7A-92A3-A707A022EB77}"/>
              </a:ext>
            </a:extLst>
          </p:cNvPr>
          <p:cNvCxnSpPr>
            <a:cxnSpLocks/>
          </p:cNvCxnSpPr>
          <p:nvPr/>
        </p:nvCxnSpPr>
        <p:spPr>
          <a:xfrm flipV="1">
            <a:off x="1700270" y="1053073"/>
            <a:ext cx="0" cy="2291508"/>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2B980F9-8BB9-42EA-B5ED-67D06D432507}"/>
              </a:ext>
            </a:extLst>
          </p:cNvPr>
          <p:cNvCxnSpPr>
            <a:cxnSpLocks/>
          </p:cNvCxnSpPr>
          <p:nvPr/>
        </p:nvCxnSpPr>
        <p:spPr>
          <a:xfrm flipH="1">
            <a:off x="1659874" y="1064090"/>
            <a:ext cx="2566931"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A9FA46F-9FFB-474A-8CAB-537FA4269D8C}"/>
              </a:ext>
            </a:extLst>
          </p:cNvPr>
          <p:cNvCxnSpPr>
            <a:cxnSpLocks/>
          </p:cNvCxnSpPr>
          <p:nvPr/>
        </p:nvCxnSpPr>
        <p:spPr>
          <a:xfrm flipV="1">
            <a:off x="10664329" y="3492343"/>
            <a:ext cx="0" cy="2291508"/>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7F31AB6-4940-449A-A6B8-40EB2ABE86E8}"/>
              </a:ext>
            </a:extLst>
          </p:cNvPr>
          <p:cNvCxnSpPr>
            <a:cxnSpLocks/>
          </p:cNvCxnSpPr>
          <p:nvPr/>
        </p:nvCxnSpPr>
        <p:spPr>
          <a:xfrm flipH="1">
            <a:off x="8251634" y="5761821"/>
            <a:ext cx="242371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333994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75176" y="558800"/>
            <a:ext cx="11145593" cy="505290"/>
          </a:xfrm>
        </p:spPr>
        <p:txBody>
          <a:bodyPr/>
          <a:lstStyle/>
          <a:p>
            <a:br>
              <a:rPr lang="en-US" dirty="0"/>
            </a:br>
            <a:br>
              <a:rPr lang="en-US" dirty="0"/>
            </a:br>
            <a:br>
              <a:rPr lang="en-US" dirty="0"/>
            </a:br>
            <a:r>
              <a:rPr lang="en-US" dirty="0"/>
              <a:t>The higher the risk, the higher the return.</a:t>
            </a:r>
            <a:endParaRPr lang="en-US" b="0" i="1" dirty="0"/>
          </a:p>
        </p:txBody>
      </p:sp>
      <p:sp>
        <p:nvSpPr>
          <p:cNvPr id="5" name="Text Placeholder 4"/>
          <p:cNvSpPr>
            <a:spLocks noGrp="1"/>
          </p:cNvSpPr>
          <p:nvPr>
            <p:ph type="body" sz="quarter" idx="15"/>
          </p:nvPr>
        </p:nvSpPr>
        <p:spPr>
          <a:xfrm>
            <a:off x="536135" y="267306"/>
            <a:ext cx="4703575" cy="176869"/>
          </a:xfrm>
        </p:spPr>
        <p:txBody>
          <a:bodyPr/>
          <a:lstStyle/>
          <a:p>
            <a:r>
              <a:rPr lang="en-US" dirty="0"/>
              <a:t>The recommendation</a:t>
            </a:r>
          </a:p>
        </p:txBody>
      </p:sp>
      <p:sp>
        <p:nvSpPr>
          <p:cNvPr id="153" name="Rectangle 152"/>
          <p:cNvSpPr/>
          <p:nvPr/>
        </p:nvSpPr>
        <p:spPr>
          <a:xfrm>
            <a:off x="820270" y="1754354"/>
            <a:ext cx="3446930" cy="267958"/>
          </a:xfrm>
          <a:prstGeom prst="rect">
            <a:avLst/>
          </a:prstGeom>
        </p:spPr>
        <p:txBody>
          <a:bodyPr wrap="square"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1400" b="1" spc="300" dirty="0">
                <a:solidFill>
                  <a:schemeClr val="tx1">
                    <a:lumMod val="50000"/>
                    <a:lumOff val="50000"/>
                  </a:schemeClr>
                </a:solidFill>
                <a:ea typeface="Open Sans" charset="0"/>
                <a:cs typeface="Open Sans" charset="0"/>
              </a:rPr>
              <a:t>HIGH BUDGET MOVIES</a:t>
            </a:r>
            <a:endParaRPr kumimoji="0" lang="en-US" sz="1400" b="1" i="0" u="none" strike="noStrike" kern="1200" cap="none" spc="300" normalizeH="0" baseline="0" noProof="0" dirty="0">
              <a:ln>
                <a:noFill/>
              </a:ln>
              <a:solidFill>
                <a:schemeClr val="tx1">
                  <a:lumMod val="50000"/>
                  <a:lumOff val="50000"/>
                </a:schemeClr>
              </a:solidFill>
              <a:effectLst/>
              <a:uLnTx/>
              <a:uFillTx/>
              <a:ea typeface="Open Sans" charset="0"/>
              <a:cs typeface="Open Sans" charset="0"/>
            </a:endParaRPr>
          </a:p>
        </p:txBody>
      </p:sp>
      <p:sp>
        <p:nvSpPr>
          <p:cNvPr id="155" name="Rectangle 154"/>
          <p:cNvSpPr/>
          <p:nvPr/>
        </p:nvSpPr>
        <p:spPr>
          <a:xfrm>
            <a:off x="7896018" y="1698934"/>
            <a:ext cx="3520127"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spc="300" dirty="0">
                <a:solidFill>
                  <a:schemeClr val="tx1">
                    <a:lumMod val="50000"/>
                    <a:lumOff val="50000"/>
                  </a:schemeClr>
                </a:solidFill>
                <a:ea typeface="Open Sans" charset="0"/>
                <a:cs typeface="Open Sans" charset="0"/>
              </a:rPr>
              <a:t>LOW BUDGET MOVIES</a:t>
            </a:r>
            <a:endParaRPr kumimoji="0" lang="en-US" sz="1400" b="1" i="0" u="none" strike="noStrike" kern="1200" cap="none" spc="300" normalizeH="0" baseline="0" noProof="0" dirty="0">
              <a:ln>
                <a:noFill/>
              </a:ln>
              <a:solidFill>
                <a:schemeClr val="tx1">
                  <a:lumMod val="50000"/>
                  <a:lumOff val="50000"/>
                </a:schemeClr>
              </a:solidFill>
              <a:effectLst/>
              <a:uLnTx/>
              <a:uFillTx/>
              <a:ea typeface="Open Sans" charset="0"/>
              <a:cs typeface="Open Sans" charset="0"/>
            </a:endParaRPr>
          </a:p>
        </p:txBody>
      </p:sp>
      <p:sp>
        <p:nvSpPr>
          <p:cNvPr id="156" name="Rectangle 155"/>
          <p:cNvSpPr/>
          <p:nvPr/>
        </p:nvSpPr>
        <p:spPr>
          <a:xfrm>
            <a:off x="2420338" y="4552538"/>
            <a:ext cx="1527610" cy="162788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 $30 million production budget will give you a lower risk of failure but also a lower return of the investment.</a:t>
            </a:r>
          </a:p>
        </p:txBody>
      </p:sp>
      <p:sp>
        <p:nvSpPr>
          <p:cNvPr id="158" name="Rectangle 157"/>
          <p:cNvSpPr/>
          <p:nvPr/>
        </p:nvSpPr>
        <p:spPr>
          <a:xfrm>
            <a:off x="702571" y="3712288"/>
            <a:ext cx="2243844" cy="487569"/>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200" dirty="0">
                <a:solidFill>
                  <a:srgbClr val="000000"/>
                </a:solidFill>
              </a:rPr>
              <a:t>Of the movies have a return of their investment</a:t>
            </a:r>
            <a:r>
              <a:rPr lang="en-US" sz="1200" b="1" dirty="0">
                <a:solidFill>
                  <a:srgbClr val="000000"/>
                </a:solidFill>
              </a:rPr>
              <a:t>.</a:t>
            </a:r>
            <a:endParaRPr kumimoji="0" lang="en-US" sz="1200" b="1" i="0" u="none" strike="noStrike" kern="1200" cap="none" spc="0" normalizeH="0" baseline="0" noProof="0" dirty="0">
              <a:ln>
                <a:noFill/>
              </a:ln>
              <a:solidFill>
                <a:srgbClr val="000000"/>
              </a:solidFill>
              <a:effectLst/>
              <a:uLnTx/>
              <a:uFillTx/>
              <a:ea typeface="+mn-ea"/>
              <a:cs typeface="+mn-cs"/>
            </a:endParaRPr>
          </a:p>
        </p:txBody>
      </p:sp>
      <p:sp>
        <p:nvSpPr>
          <p:cNvPr id="161" name="Rectangle 160"/>
          <p:cNvSpPr/>
          <p:nvPr/>
        </p:nvSpPr>
        <p:spPr>
          <a:xfrm>
            <a:off x="848519" y="5826188"/>
            <a:ext cx="3428931" cy="29828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Average ROI </a:t>
            </a:r>
            <a:endParaRPr kumimoji="0" lang="en-US" sz="1200" i="0" u="none" strike="noStrike" kern="1200" cap="none" spc="-10" normalizeH="0" baseline="0" noProof="0" dirty="0">
              <a:ln>
                <a:noFill/>
              </a:ln>
              <a:solidFill>
                <a:srgbClr val="000000"/>
              </a:solidFill>
              <a:effectLst/>
              <a:uLnTx/>
              <a:uFillTx/>
              <a:ea typeface="+mn-ea"/>
              <a:cs typeface="+mn-cs"/>
            </a:endParaRPr>
          </a:p>
        </p:txBody>
      </p:sp>
      <p:sp>
        <p:nvSpPr>
          <p:cNvPr id="162" name="Rectangle 161"/>
          <p:cNvSpPr/>
          <p:nvPr/>
        </p:nvSpPr>
        <p:spPr>
          <a:xfrm>
            <a:off x="930072" y="5445435"/>
            <a:ext cx="902811"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012169"/>
                </a:solidFill>
                <a:ea typeface="Chronicle Display Roman" charset="0"/>
                <a:cs typeface="Chronicle Display Roman" charset="0"/>
              </a:rPr>
              <a:t>1.63</a:t>
            </a:r>
            <a:endParaRPr kumimoji="0" lang="en-US" sz="2800" b="1" i="0" u="none" strike="noStrike" kern="1200" cap="none" spc="0" normalizeH="0" baseline="0" noProof="0" dirty="0">
              <a:ln>
                <a:noFill/>
              </a:ln>
              <a:solidFill>
                <a:srgbClr val="012169"/>
              </a:solidFill>
              <a:effectLst/>
              <a:uLnTx/>
              <a:uFillTx/>
              <a:ea typeface="Chronicle Display Roman" charset="0"/>
              <a:cs typeface="Chronicle Display Roman" charset="0"/>
            </a:endParaRPr>
          </a:p>
        </p:txBody>
      </p:sp>
      <p:sp>
        <p:nvSpPr>
          <p:cNvPr id="169" name="Rectangle 168"/>
          <p:cNvSpPr/>
          <p:nvPr/>
        </p:nvSpPr>
        <p:spPr>
          <a:xfrm>
            <a:off x="2945409" y="3650436"/>
            <a:ext cx="918841" cy="523220"/>
          </a:xfrm>
          <a:prstGeom prst="rect">
            <a:avLst/>
          </a:prstGeom>
          <a:ln>
            <a:solidFill>
              <a:schemeClr val="accent1"/>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4"/>
                </a:solidFill>
                <a:ea typeface="Chronicle Display Roman" charset="0"/>
                <a:cs typeface="Chronicle Display Roman" charset="0"/>
              </a:rPr>
              <a:t>75%</a:t>
            </a:r>
            <a:endParaRPr kumimoji="0" lang="en-US" sz="2800" b="1" i="0" u="none" strike="noStrike" kern="1200" cap="none" spc="0" normalizeH="0" baseline="0" noProof="0" dirty="0">
              <a:ln>
                <a:noFill/>
              </a:ln>
              <a:solidFill>
                <a:schemeClr val="accent4"/>
              </a:solidFill>
              <a:effectLst/>
              <a:uLnTx/>
              <a:uFillTx/>
              <a:ea typeface="Chronicle Display Roman" charset="0"/>
              <a:cs typeface="Chronicle Display Roman" charset="0"/>
            </a:endParaRPr>
          </a:p>
        </p:txBody>
      </p:sp>
      <p:grpSp>
        <p:nvGrpSpPr>
          <p:cNvPr id="9" name="Group 8">
            <a:extLst>
              <a:ext uri="{FF2B5EF4-FFF2-40B4-BE49-F238E27FC236}">
                <a16:creationId xmlns:a16="http://schemas.microsoft.com/office/drawing/2014/main" id="{2A7A7EDD-24D3-4511-B0AD-4541EB7AC578}"/>
              </a:ext>
            </a:extLst>
          </p:cNvPr>
          <p:cNvGrpSpPr/>
          <p:nvPr/>
        </p:nvGrpSpPr>
        <p:grpSpPr>
          <a:xfrm>
            <a:off x="736900" y="2356132"/>
            <a:ext cx="2716998" cy="556164"/>
            <a:chOff x="8080220" y="2081786"/>
            <a:chExt cx="3054032" cy="535589"/>
          </a:xfrm>
        </p:grpSpPr>
        <p:pic>
          <p:nvPicPr>
            <p:cNvPr id="8" name="Graphic 7" descr="Clapper board with solid fill">
              <a:extLst>
                <a:ext uri="{FF2B5EF4-FFF2-40B4-BE49-F238E27FC236}">
                  <a16:creationId xmlns:a16="http://schemas.microsoft.com/office/drawing/2014/main" id="{446DC1A4-B7F4-42A3-B8FD-2FDDEB2DC2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80220" y="2096747"/>
              <a:ext cx="520628" cy="520628"/>
            </a:xfrm>
            <a:prstGeom prst="rect">
              <a:avLst/>
            </a:prstGeom>
          </p:spPr>
        </p:pic>
        <p:pic>
          <p:nvPicPr>
            <p:cNvPr id="127" name="Graphic 126" descr="Clapper board with solid fill">
              <a:extLst>
                <a:ext uri="{FF2B5EF4-FFF2-40B4-BE49-F238E27FC236}">
                  <a16:creationId xmlns:a16="http://schemas.microsoft.com/office/drawing/2014/main" id="{9792F04C-1A16-4F57-88AB-05DB5F522D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30270" y="2096198"/>
              <a:ext cx="520628" cy="520628"/>
            </a:xfrm>
            <a:prstGeom prst="rect">
              <a:avLst/>
            </a:prstGeom>
          </p:spPr>
        </p:pic>
        <p:pic>
          <p:nvPicPr>
            <p:cNvPr id="128" name="Graphic 127" descr="Clapper board with solid fill">
              <a:extLst>
                <a:ext uri="{FF2B5EF4-FFF2-40B4-BE49-F238E27FC236}">
                  <a16:creationId xmlns:a16="http://schemas.microsoft.com/office/drawing/2014/main" id="{32AC3E0E-3773-4A6A-AC0E-471A2BFC7C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2963" y="2081786"/>
              <a:ext cx="520628" cy="520628"/>
            </a:xfrm>
            <a:prstGeom prst="rect">
              <a:avLst/>
            </a:prstGeom>
          </p:spPr>
        </p:pic>
        <p:pic>
          <p:nvPicPr>
            <p:cNvPr id="129" name="Graphic 128" descr="Clapper board with solid fill">
              <a:extLst>
                <a:ext uri="{FF2B5EF4-FFF2-40B4-BE49-F238E27FC236}">
                  <a16:creationId xmlns:a16="http://schemas.microsoft.com/office/drawing/2014/main" id="{72ACB6F2-A70E-44B4-B2E8-10C3BB73F6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90931" y="2083694"/>
              <a:ext cx="520628" cy="520628"/>
            </a:xfrm>
            <a:prstGeom prst="rect">
              <a:avLst/>
            </a:prstGeom>
          </p:spPr>
        </p:pic>
        <p:pic>
          <p:nvPicPr>
            <p:cNvPr id="130" name="Graphic 129" descr="Clapper board with solid fill">
              <a:extLst>
                <a:ext uri="{FF2B5EF4-FFF2-40B4-BE49-F238E27FC236}">
                  <a16:creationId xmlns:a16="http://schemas.microsoft.com/office/drawing/2014/main" id="{95287202-1EA2-42D0-ABFF-76649F3E9A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13624" y="2081843"/>
              <a:ext cx="520628" cy="520628"/>
            </a:xfrm>
            <a:prstGeom prst="rect">
              <a:avLst/>
            </a:prstGeom>
          </p:spPr>
        </p:pic>
      </p:grpSp>
      <p:grpSp>
        <p:nvGrpSpPr>
          <p:cNvPr id="131" name="Group 130">
            <a:extLst>
              <a:ext uri="{FF2B5EF4-FFF2-40B4-BE49-F238E27FC236}">
                <a16:creationId xmlns:a16="http://schemas.microsoft.com/office/drawing/2014/main" id="{2874562E-9914-4BE3-9E14-980539760194}"/>
              </a:ext>
            </a:extLst>
          </p:cNvPr>
          <p:cNvGrpSpPr/>
          <p:nvPr/>
        </p:nvGrpSpPr>
        <p:grpSpPr>
          <a:xfrm>
            <a:off x="8394406" y="2863247"/>
            <a:ext cx="2772966" cy="540628"/>
            <a:chOff x="8080220" y="2081786"/>
            <a:chExt cx="3054032" cy="535589"/>
          </a:xfrm>
        </p:grpSpPr>
        <p:pic>
          <p:nvPicPr>
            <p:cNvPr id="132" name="Graphic 131" descr="Clapper board with solid fill">
              <a:extLst>
                <a:ext uri="{FF2B5EF4-FFF2-40B4-BE49-F238E27FC236}">
                  <a16:creationId xmlns:a16="http://schemas.microsoft.com/office/drawing/2014/main" id="{D8E8FE52-916E-4060-96A6-058BE7B9AB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80220" y="2096747"/>
              <a:ext cx="520628" cy="520628"/>
            </a:xfrm>
            <a:prstGeom prst="rect">
              <a:avLst/>
            </a:prstGeom>
          </p:spPr>
        </p:pic>
        <p:pic>
          <p:nvPicPr>
            <p:cNvPr id="133" name="Graphic 132" descr="Clapper board with solid fill">
              <a:extLst>
                <a:ext uri="{FF2B5EF4-FFF2-40B4-BE49-F238E27FC236}">
                  <a16:creationId xmlns:a16="http://schemas.microsoft.com/office/drawing/2014/main" id="{3F45E6B5-FD02-49DC-8F01-1ACB598738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30270" y="2096198"/>
              <a:ext cx="520628" cy="520628"/>
            </a:xfrm>
            <a:prstGeom prst="rect">
              <a:avLst/>
            </a:prstGeom>
          </p:spPr>
        </p:pic>
        <p:pic>
          <p:nvPicPr>
            <p:cNvPr id="134" name="Graphic 133" descr="Clapper board with solid fill">
              <a:extLst>
                <a:ext uri="{FF2B5EF4-FFF2-40B4-BE49-F238E27FC236}">
                  <a16:creationId xmlns:a16="http://schemas.microsoft.com/office/drawing/2014/main" id="{37B60E99-EE11-4320-B4C3-62C958FC40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52963" y="2081786"/>
              <a:ext cx="520628" cy="520628"/>
            </a:xfrm>
            <a:prstGeom prst="rect">
              <a:avLst/>
            </a:prstGeom>
          </p:spPr>
        </p:pic>
        <p:pic>
          <p:nvPicPr>
            <p:cNvPr id="135" name="Graphic 134" descr="Clapper board with solid fill">
              <a:extLst>
                <a:ext uri="{FF2B5EF4-FFF2-40B4-BE49-F238E27FC236}">
                  <a16:creationId xmlns:a16="http://schemas.microsoft.com/office/drawing/2014/main" id="{64249122-E685-42FC-B7F0-C1EEDD343F8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90931" y="2083694"/>
              <a:ext cx="520628" cy="520628"/>
            </a:xfrm>
            <a:prstGeom prst="rect">
              <a:avLst/>
            </a:prstGeom>
          </p:spPr>
        </p:pic>
        <p:pic>
          <p:nvPicPr>
            <p:cNvPr id="136" name="Graphic 135" descr="Clapper board with solid fill">
              <a:extLst>
                <a:ext uri="{FF2B5EF4-FFF2-40B4-BE49-F238E27FC236}">
                  <a16:creationId xmlns:a16="http://schemas.microsoft.com/office/drawing/2014/main" id="{84B8CB38-5246-4DCC-8C81-20F0D1D8F57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13624" y="2081843"/>
              <a:ext cx="520628" cy="520628"/>
            </a:xfrm>
            <a:prstGeom prst="rect">
              <a:avLst/>
            </a:prstGeom>
          </p:spPr>
        </p:pic>
      </p:grpSp>
      <p:sp>
        <p:nvSpPr>
          <p:cNvPr id="137" name="Rectangle 136">
            <a:extLst>
              <a:ext uri="{FF2B5EF4-FFF2-40B4-BE49-F238E27FC236}">
                <a16:creationId xmlns:a16="http://schemas.microsoft.com/office/drawing/2014/main" id="{D73FE8B2-7C9B-43E6-83D3-04F66C74BC15}"/>
              </a:ext>
            </a:extLst>
          </p:cNvPr>
          <p:cNvSpPr/>
          <p:nvPr/>
        </p:nvSpPr>
        <p:spPr>
          <a:xfrm>
            <a:off x="8301743" y="3661327"/>
            <a:ext cx="918841" cy="523220"/>
          </a:xfrm>
          <a:prstGeom prst="rect">
            <a:avLst/>
          </a:prstGeom>
          <a:ln>
            <a:solidFill>
              <a:schemeClr val="accent1"/>
            </a:solid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5"/>
                </a:solidFill>
                <a:ea typeface="Chronicle Display Roman" charset="0"/>
                <a:cs typeface="Chronicle Display Roman" charset="0"/>
              </a:rPr>
              <a:t>51%</a:t>
            </a:r>
            <a:endParaRPr kumimoji="0" lang="en-US" sz="2800" b="1" i="0" u="none" strike="noStrike" kern="1200" cap="none" spc="0" normalizeH="0" baseline="0" noProof="0" dirty="0">
              <a:ln>
                <a:noFill/>
              </a:ln>
              <a:solidFill>
                <a:schemeClr val="accent5"/>
              </a:solidFill>
              <a:effectLst/>
              <a:uLnTx/>
              <a:uFillTx/>
              <a:ea typeface="Chronicle Display Roman" charset="0"/>
              <a:cs typeface="Chronicle Display Roman" charset="0"/>
            </a:endParaRPr>
          </a:p>
        </p:txBody>
      </p:sp>
      <p:sp>
        <p:nvSpPr>
          <p:cNvPr id="139" name="Rectangle 138">
            <a:extLst>
              <a:ext uri="{FF2B5EF4-FFF2-40B4-BE49-F238E27FC236}">
                <a16:creationId xmlns:a16="http://schemas.microsoft.com/office/drawing/2014/main" id="{2FC66F20-B7E9-4B2F-A907-8F1CE4F01CEB}"/>
              </a:ext>
            </a:extLst>
          </p:cNvPr>
          <p:cNvSpPr/>
          <p:nvPr/>
        </p:nvSpPr>
        <p:spPr>
          <a:xfrm>
            <a:off x="9371425" y="3669457"/>
            <a:ext cx="2088383" cy="487569"/>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200" dirty="0">
                <a:solidFill>
                  <a:srgbClr val="000000"/>
                </a:solidFill>
              </a:rPr>
              <a:t>Of the movies have a return of their investment</a:t>
            </a:r>
            <a:r>
              <a:rPr lang="en-US" sz="1200" b="1" dirty="0">
                <a:solidFill>
                  <a:srgbClr val="000000"/>
                </a:solidFill>
              </a:rPr>
              <a:t>.</a:t>
            </a:r>
            <a:endParaRPr kumimoji="0" lang="en-US" sz="1200" b="1" i="0" u="none" strike="noStrike" kern="1200" cap="none" spc="0" normalizeH="0" baseline="0" noProof="0" dirty="0">
              <a:ln>
                <a:noFill/>
              </a:ln>
              <a:solidFill>
                <a:srgbClr val="000000"/>
              </a:solidFill>
              <a:effectLst/>
              <a:uLnTx/>
              <a:uFillTx/>
              <a:ea typeface="+mn-ea"/>
              <a:cs typeface="+mn-cs"/>
            </a:endParaRPr>
          </a:p>
        </p:txBody>
      </p:sp>
      <p:pic>
        <p:nvPicPr>
          <p:cNvPr id="11" name="Graphic 10" descr="Money with solid fill">
            <a:extLst>
              <a:ext uri="{FF2B5EF4-FFF2-40B4-BE49-F238E27FC236}">
                <a16:creationId xmlns:a16="http://schemas.microsoft.com/office/drawing/2014/main" id="{83B8F5BD-CF45-42BC-92BD-6A7740C964B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103269" y="4204290"/>
            <a:ext cx="1387885" cy="1387885"/>
          </a:xfrm>
          <a:prstGeom prst="rect">
            <a:avLst/>
          </a:prstGeom>
        </p:spPr>
      </p:pic>
      <p:sp>
        <p:nvSpPr>
          <p:cNvPr id="140" name="Rectangle 139">
            <a:extLst>
              <a:ext uri="{FF2B5EF4-FFF2-40B4-BE49-F238E27FC236}">
                <a16:creationId xmlns:a16="http://schemas.microsoft.com/office/drawing/2014/main" id="{3DDE71F2-612A-4AF8-89A7-99C3563E1F63}"/>
              </a:ext>
            </a:extLst>
          </p:cNvPr>
          <p:cNvSpPr/>
          <p:nvPr/>
        </p:nvSpPr>
        <p:spPr>
          <a:xfrm>
            <a:off x="10556997" y="5445435"/>
            <a:ext cx="902811"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5"/>
                </a:solidFill>
                <a:ea typeface="Chronicle Display Roman" charset="0"/>
                <a:cs typeface="Chronicle Display Roman" charset="0"/>
              </a:rPr>
              <a:t>7.69</a:t>
            </a:r>
            <a:endParaRPr kumimoji="0" lang="en-US" sz="2800" b="1" i="0" u="none" strike="noStrike" kern="1200" cap="none" spc="0" normalizeH="0" baseline="0" noProof="0" dirty="0">
              <a:ln>
                <a:noFill/>
              </a:ln>
              <a:solidFill>
                <a:schemeClr val="accent5"/>
              </a:solidFill>
              <a:effectLst/>
              <a:uLnTx/>
              <a:uFillTx/>
              <a:ea typeface="Chronicle Display Roman" charset="0"/>
              <a:cs typeface="Chronicle Display Roman" charset="0"/>
            </a:endParaRPr>
          </a:p>
        </p:txBody>
      </p:sp>
      <p:sp>
        <p:nvSpPr>
          <p:cNvPr id="141" name="Rectangle 140">
            <a:extLst>
              <a:ext uri="{FF2B5EF4-FFF2-40B4-BE49-F238E27FC236}">
                <a16:creationId xmlns:a16="http://schemas.microsoft.com/office/drawing/2014/main" id="{18371176-0F35-473B-82E2-AF27359FD52D}"/>
              </a:ext>
            </a:extLst>
          </p:cNvPr>
          <p:cNvSpPr/>
          <p:nvPr/>
        </p:nvSpPr>
        <p:spPr>
          <a:xfrm>
            <a:off x="10556997" y="5828270"/>
            <a:ext cx="3428931" cy="29828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ea typeface="+mn-ea"/>
                <a:cs typeface="+mn-cs"/>
              </a:rPr>
              <a:t>Average ROI </a:t>
            </a:r>
            <a:endParaRPr kumimoji="0" lang="en-US" sz="1200" i="0" u="none" strike="noStrike" kern="1200" cap="none" spc="-10" normalizeH="0" baseline="0" noProof="0" dirty="0">
              <a:ln>
                <a:noFill/>
              </a:ln>
              <a:solidFill>
                <a:srgbClr val="000000"/>
              </a:solidFill>
              <a:effectLst/>
              <a:uLnTx/>
              <a:uFillTx/>
              <a:ea typeface="+mn-ea"/>
              <a:cs typeface="+mn-cs"/>
            </a:endParaRPr>
          </a:p>
        </p:txBody>
      </p:sp>
      <p:sp>
        <p:nvSpPr>
          <p:cNvPr id="143" name="Rectangle 142">
            <a:extLst>
              <a:ext uri="{FF2B5EF4-FFF2-40B4-BE49-F238E27FC236}">
                <a16:creationId xmlns:a16="http://schemas.microsoft.com/office/drawing/2014/main" id="{539D1528-7832-45C6-B92F-219C112D1143}"/>
              </a:ext>
            </a:extLst>
          </p:cNvPr>
          <p:cNvSpPr/>
          <p:nvPr/>
        </p:nvSpPr>
        <p:spPr>
          <a:xfrm>
            <a:off x="8290003" y="4498675"/>
            <a:ext cx="1527610" cy="1849481"/>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A - $8 million production budget will be a higher risk of failure but also a </a:t>
            </a:r>
            <a:r>
              <a:rPr lang="en-US" sz="1200" b="1" dirty="0">
                <a:solidFill>
                  <a:srgbClr val="000000"/>
                </a:solidFill>
              </a:rPr>
              <a:t>much higher</a:t>
            </a:r>
            <a:r>
              <a:rPr kumimoji="0" lang="en-US" sz="1200" b="1" i="0" u="none" strike="noStrike" kern="1200" cap="none" spc="0" normalizeH="0" baseline="0" noProof="0" dirty="0">
                <a:ln>
                  <a:noFill/>
                </a:ln>
                <a:solidFill>
                  <a:srgbClr val="000000"/>
                </a:solidFill>
                <a:effectLst/>
                <a:uLnTx/>
                <a:uFillTx/>
                <a:ea typeface="+mn-ea"/>
                <a:cs typeface="+mn-cs"/>
              </a:rPr>
              <a:t> return of the investment.</a:t>
            </a:r>
          </a:p>
        </p:txBody>
      </p:sp>
      <p:grpSp>
        <p:nvGrpSpPr>
          <p:cNvPr id="144" name="Group 143">
            <a:extLst>
              <a:ext uri="{FF2B5EF4-FFF2-40B4-BE49-F238E27FC236}">
                <a16:creationId xmlns:a16="http://schemas.microsoft.com/office/drawing/2014/main" id="{34F0DA0D-7267-47B3-98C6-4F2E1231789F}"/>
              </a:ext>
            </a:extLst>
          </p:cNvPr>
          <p:cNvGrpSpPr/>
          <p:nvPr/>
        </p:nvGrpSpPr>
        <p:grpSpPr>
          <a:xfrm>
            <a:off x="8406840" y="2342311"/>
            <a:ext cx="2716998" cy="556105"/>
            <a:chOff x="8080220" y="2081843"/>
            <a:chExt cx="3054032" cy="535532"/>
          </a:xfrm>
        </p:grpSpPr>
        <p:pic>
          <p:nvPicPr>
            <p:cNvPr id="145" name="Graphic 144" descr="Clapper board with solid fill">
              <a:extLst>
                <a:ext uri="{FF2B5EF4-FFF2-40B4-BE49-F238E27FC236}">
                  <a16:creationId xmlns:a16="http://schemas.microsoft.com/office/drawing/2014/main" id="{DDAEDDDC-FF95-426A-A680-1ADA2F20B7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80220" y="2096747"/>
              <a:ext cx="520628" cy="520628"/>
            </a:xfrm>
            <a:prstGeom prst="rect">
              <a:avLst/>
            </a:prstGeom>
          </p:spPr>
        </p:pic>
        <p:pic>
          <p:nvPicPr>
            <p:cNvPr id="146" name="Graphic 145" descr="Clapper board with solid fill">
              <a:extLst>
                <a:ext uri="{FF2B5EF4-FFF2-40B4-BE49-F238E27FC236}">
                  <a16:creationId xmlns:a16="http://schemas.microsoft.com/office/drawing/2014/main" id="{D0D75FF6-98CC-4E37-AA95-41A938EF4C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30270" y="2096198"/>
              <a:ext cx="520628" cy="520628"/>
            </a:xfrm>
            <a:prstGeom prst="rect">
              <a:avLst/>
            </a:prstGeom>
          </p:spPr>
        </p:pic>
        <p:pic>
          <p:nvPicPr>
            <p:cNvPr id="147" name="Graphic 146" descr="Clapper board with solid fill">
              <a:extLst>
                <a:ext uri="{FF2B5EF4-FFF2-40B4-BE49-F238E27FC236}">
                  <a16:creationId xmlns:a16="http://schemas.microsoft.com/office/drawing/2014/main" id="{EED36969-E7F6-4FCD-ABC6-7116832444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2962" y="2081843"/>
              <a:ext cx="520628" cy="520628"/>
            </a:xfrm>
            <a:prstGeom prst="rect">
              <a:avLst/>
            </a:prstGeom>
          </p:spPr>
        </p:pic>
        <p:pic>
          <p:nvPicPr>
            <p:cNvPr id="150" name="Graphic 149" descr="Clapper board with solid fill">
              <a:extLst>
                <a:ext uri="{FF2B5EF4-FFF2-40B4-BE49-F238E27FC236}">
                  <a16:creationId xmlns:a16="http://schemas.microsoft.com/office/drawing/2014/main" id="{40752F91-4454-4FCB-AE57-A7867E5F758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90931" y="2083694"/>
              <a:ext cx="520628" cy="520628"/>
            </a:xfrm>
            <a:prstGeom prst="rect">
              <a:avLst/>
            </a:prstGeom>
          </p:spPr>
        </p:pic>
        <p:pic>
          <p:nvPicPr>
            <p:cNvPr id="151" name="Graphic 150" descr="Clapper board with solid fill">
              <a:extLst>
                <a:ext uri="{FF2B5EF4-FFF2-40B4-BE49-F238E27FC236}">
                  <a16:creationId xmlns:a16="http://schemas.microsoft.com/office/drawing/2014/main" id="{3ED40FEB-9512-477B-909C-14D18B1259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13624" y="2081843"/>
              <a:ext cx="520628" cy="520628"/>
            </a:xfrm>
            <a:prstGeom prst="rect">
              <a:avLst/>
            </a:prstGeom>
          </p:spPr>
        </p:pic>
      </p:grpSp>
      <p:grpSp>
        <p:nvGrpSpPr>
          <p:cNvPr id="152" name="Group 151">
            <a:extLst>
              <a:ext uri="{FF2B5EF4-FFF2-40B4-BE49-F238E27FC236}">
                <a16:creationId xmlns:a16="http://schemas.microsoft.com/office/drawing/2014/main" id="{90EFE833-BE44-4C12-824B-DFDED9BBF3BA}"/>
              </a:ext>
            </a:extLst>
          </p:cNvPr>
          <p:cNvGrpSpPr/>
          <p:nvPr/>
        </p:nvGrpSpPr>
        <p:grpSpPr>
          <a:xfrm>
            <a:off x="772263" y="2897275"/>
            <a:ext cx="2716998" cy="556164"/>
            <a:chOff x="8080220" y="2081786"/>
            <a:chExt cx="3054032" cy="535589"/>
          </a:xfrm>
        </p:grpSpPr>
        <p:pic>
          <p:nvPicPr>
            <p:cNvPr id="181" name="Graphic 180" descr="Clapper board with solid fill">
              <a:extLst>
                <a:ext uri="{FF2B5EF4-FFF2-40B4-BE49-F238E27FC236}">
                  <a16:creationId xmlns:a16="http://schemas.microsoft.com/office/drawing/2014/main" id="{77DB858C-E918-410B-B751-E4A58CC279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80220" y="2096747"/>
              <a:ext cx="520628" cy="520628"/>
            </a:xfrm>
            <a:prstGeom prst="rect">
              <a:avLst/>
            </a:prstGeom>
          </p:spPr>
        </p:pic>
        <p:pic>
          <p:nvPicPr>
            <p:cNvPr id="182" name="Graphic 181" descr="Clapper board with solid fill">
              <a:extLst>
                <a:ext uri="{FF2B5EF4-FFF2-40B4-BE49-F238E27FC236}">
                  <a16:creationId xmlns:a16="http://schemas.microsoft.com/office/drawing/2014/main" id="{9754389E-2ECF-4C9B-97A2-386D07CDC1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30270" y="2096198"/>
              <a:ext cx="520628" cy="520628"/>
            </a:xfrm>
            <a:prstGeom prst="rect">
              <a:avLst/>
            </a:prstGeom>
          </p:spPr>
        </p:pic>
        <p:pic>
          <p:nvPicPr>
            <p:cNvPr id="183" name="Graphic 182" descr="Clapper board with solid fill">
              <a:extLst>
                <a:ext uri="{FF2B5EF4-FFF2-40B4-BE49-F238E27FC236}">
                  <a16:creationId xmlns:a16="http://schemas.microsoft.com/office/drawing/2014/main" id="{B98AD357-1F3A-4026-91B4-C4DD21FDD16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52963" y="2081786"/>
              <a:ext cx="520628" cy="520628"/>
            </a:xfrm>
            <a:prstGeom prst="rect">
              <a:avLst/>
            </a:prstGeom>
          </p:spPr>
        </p:pic>
        <p:pic>
          <p:nvPicPr>
            <p:cNvPr id="184" name="Graphic 183" descr="Clapper board with solid fill">
              <a:extLst>
                <a:ext uri="{FF2B5EF4-FFF2-40B4-BE49-F238E27FC236}">
                  <a16:creationId xmlns:a16="http://schemas.microsoft.com/office/drawing/2014/main" id="{E9767B61-E1C3-494C-941D-3D11F577F19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90931" y="2083694"/>
              <a:ext cx="520628" cy="520628"/>
            </a:xfrm>
            <a:prstGeom prst="rect">
              <a:avLst/>
            </a:prstGeom>
          </p:spPr>
        </p:pic>
        <p:pic>
          <p:nvPicPr>
            <p:cNvPr id="230" name="Graphic 229" descr="Clapper board with solid fill">
              <a:extLst>
                <a:ext uri="{FF2B5EF4-FFF2-40B4-BE49-F238E27FC236}">
                  <a16:creationId xmlns:a16="http://schemas.microsoft.com/office/drawing/2014/main" id="{6D3728C4-CC08-4FBF-9D21-12AF5684004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13624" y="2081843"/>
              <a:ext cx="520628" cy="520628"/>
            </a:xfrm>
            <a:prstGeom prst="rect">
              <a:avLst/>
            </a:prstGeom>
          </p:spPr>
        </p:pic>
      </p:grpSp>
      <p:pic>
        <p:nvPicPr>
          <p:cNvPr id="14" name="Graphic 13" descr="Coins with solid fill">
            <a:extLst>
              <a:ext uri="{FF2B5EF4-FFF2-40B4-BE49-F238E27FC236}">
                <a16:creationId xmlns:a16="http://schemas.microsoft.com/office/drawing/2014/main" id="{EC0893DF-E1C8-49AD-9D27-64BE7EEA0D8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94246" y="4687154"/>
            <a:ext cx="785232" cy="785232"/>
          </a:xfrm>
          <a:prstGeom prst="rect">
            <a:avLst/>
          </a:prstGeom>
        </p:spPr>
      </p:pic>
      <p:cxnSp>
        <p:nvCxnSpPr>
          <p:cNvPr id="16" name="Straight Connector 15">
            <a:extLst>
              <a:ext uri="{FF2B5EF4-FFF2-40B4-BE49-F238E27FC236}">
                <a16:creationId xmlns:a16="http://schemas.microsoft.com/office/drawing/2014/main" id="{0D321376-68F4-4781-B074-172BA3D34ECE}"/>
              </a:ext>
            </a:extLst>
          </p:cNvPr>
          <p:cNvCxnSpPr/>
          <p:nvPr/>
        </p:nvCxnSpPr>
        <p:spPr>
          <a:xfrm>
            <a:off x="5938092" y="1754354"/>
            <a:ext cx="0" cy="437012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93621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36A2-1C98-9C4C-B0F7-8444940228A1}"/>
              </a:ext>
            </a:extLst>
          </p:cNvPr>
          <p:cNvSpPr>
            <a:spLocks noGrp="1"/>
          </p:cNvSpPr>
          <p:nvPr>
            <p:ph type="title"/>
          </p:nvPr>
        </p:nvSpPr>
        <p:spPr>
          <a:xfrm>
            <a:off x="551687" y="1581632"/>
            <a:ext cx="4205247" cy="3276118"/>
          </a:xfrm>
        </p:spPr>
        <p:txBody>
          <a:bodyPr/>
          <a:lstStyle/>
          <a:p>
            <a:r>
              <a:rPr lang="en-US" dirty="0"/>
              <a:t>Next Steps</a:t>
            </a:r>
          </a:p>
        </p:txBody>
      </p:sp>
    </p:spTree>
    <p:extLst>
      <p:ext uri="{BB962C8B-B14F-4D97-AF65-F5344CB8AC3E}">
        <p14:creationId xmlns:p14="http://schemas.microsoft.com/office/powerpoint/2010/main" val="17412249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7B5F5A7-C1DE-4001-86A0-4B1A3F50EF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6" imgW="395" imgH="396" progId="TCLayout.ActiveDocument.1">
                  <p:embed/>
                </p:oleObj>
              </mc:Choice>
              <mc:Fallback>
                <p:oleObj name="think-cell Slide" r:id="rId6" imgW="395" imgH="396" progId="TCLayout.ActiveDocument.1">
                  <p:embed/>
                  <p:pic>
                    <p:nvPicPr>
                      <p:cNvPr id="51" name="Object 50" hidden="1">
                        <a:extLst>
                          <a:ext uri="{FF2B5EF4-FFF2-40B4-BE49-F238E27FC236}">
                            <a16:creationId xmlns:a16="http://schemas.microsoft.com/office/drawing/2014/main" id="{77B5F5A7-C1DE-4001-86A0-4B1A3F50EF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C950F101-5460-4F7E-851E-C7DD92D38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sp>
        <p:nvSpPr>
          <p:cNvPr id="48" name="Title 47">
            <a:extLst>
              <a:ext uri="{FF2B5EF4-FFF2-40B4-BE49-F238E27FC236}">
                <a16:creationId xmlns:a16="http://schemas.microsoft.com/office/drawing/2014/main" id="{ECD0EF2F-CCC5-4EBC-9435-DB8EFE61842B}"/>
              </a:ext>
            </a:extLst>
          </p:cNvPr>
          <p:cNvSpPr>
            <a:spLocks noGrp="1"/>
          </p:cNvSpPr>
          <p:nvPr>
            <p:ph type="title"/>
          </p:nvPr>
        </p:nvSpPr>
        <p:spPr/>
        <p:txBody>
          <a:bodyPr/>
          <a:lstStyle/>
          <a:p>
            <a:r>
              <a:rPr lang="en-US" sz="3600" dirty="0"/>
              <a:t>Now what?</a:t>
            </a:r>
          </a:p>
        </p:txBody>
      </p:sp>
      <p:sp>
        <p:nvSpPr>
          <p:cNvPr id="50" name="Text Placeholder 49">
            <a:extLst>
              <a:ext uri="{FF2B5EF4-FFF2-40B4-BE49-F238E27FC236}">
                <a16:creationId xmlns:a16="http://schemas.microsoft.com/office/drawing/2014/main" id="{91B30417-7688-43D3-B92D-A13D323A97D8}"/>
              </a:ext>
            </a:extLst>
          </p:cNvPr>
          <p:cNvSpPr>
            <a:spLocks noGrp="1"/>
          </p:cNvSpPr>
          <p:nvPr>
            <p:ph type="body" sz="quarter" idx="15"/>
          </p:nvPr>
        </p:nvSpPr>
        <p:spPr/>
        <p:txBody>
          <a:bodyPr/>
          <a:lstStyle/>
          <a:p>
            <a:r>
              <a:rPr lang="en-US" dirty="0"/>
              <a:t>Next steps</a:t>
            </a:r>
            <a:endParaRPr lang="en-US" dirty="0">
              <a:solidFill>
                <a:schemeClr val="tx1">
                  <a:lumMod val="50000"/>
                  <a:lumOff val="50000"/>
                </a:schemeClr>
              </a:solidFill>
            </a:endParaRPr>
          </a:p>
        </p:txBody>
      </p:sp>
      <p:sp>
        <p:nvSpPr>
          <p:cNvPr id="5" name="Title 2">
            <a:extLst>
              <a:ext uri="{FF2B5EF4-FFF2-40B4-BE49-F238E27FC236}">
                <a16:creationId xmlns:a16="http://schemas.microsoft.com/office/drawing/2014/main" id="{C50668CF-1DB7-4CC7-AA20-607BC1CC3798}"/>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ysClr val="windowText" lastClr="000000"/>
              </a:solidFill>
              <a:effectLst/>
              <a:uLnTx/>
              <a:uFillTx/>
              <a:latin typeface="Verdana"/>
              <a:ea typeface="+mj-ea"/>
              <a:cs typeface="+mj-cs"/>
            </a:endParaRPr>
          </a:p>
        </p:txBody>
      </p:sp>
      <p:sp>
        <p:nvSpPr>
          <p:cNvPr id="6" name="Rectangle 5">
            <a:extLst>
              <a:ext uri="{FF2B5EF4-FFF2-40B4-BE49-F238E27FC236}">
                <a16:creationId xmlns:a16="http://schemas.microsoft.com/office/drawing/2014/main" id="{F3CC1E21-C752-48A9-89F0-A8993097EE13}"/>
              </a:ext>
            </a:extLst>
          </p:cNvPr>
          <p:cNvSpPr/>
          <p:nvPr/>
        </p:nvSpPr>
        <p:spPr>
          <a:xfrm>
            <a:off x="674556" y="1946196"/>
            <a:ext cx="2029842" cy="4113151"/>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WHY DO SOME MOVIES FAI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 name="Rectangle 9">
            <a:extLst>
              <a:ext uri="{FF2B5EF4-FFF2-40B4-BE49-F238E27FC236}">
                <a16:creationId xmlns:a16="http://schemas.microsoft.com/office/drawing/2014/main" id="{BFB83E42-5D4E-4566-B887-1553F705FE73}"/>
              </a:ext>
            </a:extLst>
          </p:cNvPr>
          <p:cNvSpPr/>
          <p:nvPr/>
        </p:nvSpPr>
        <p:spPr>
          <a:xfrm>
            <a:off x="2902801" y="1946196"/>
            <a:ext cx="2029842" cy="4113151"/>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WHICH ARE THE MOST PROFITABLE MOVIES</a:t>
            </a:r>
            <a:r>
              <a:rPr lang="en-US" sz="1400" b="1" spc="300" dirty="0">
                <a:solidFill>
                  <a:srgbClr val="000000"/>
                </a:solidFill>
                <a:ea typeface="Verdana" panose="020B0604030504040204" pitchFamily="34" charset="0"/>
                <a:cs typeface="Verdana" panose="020B0604030504040204" pitchFamily="34" charset="0"/>
              </a:rPr>
              <a:t>?</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935FF258-720F-4D65-A652-9DD7D733F544}"/>
              </a:ext>
            </a:extLst>
          </p:cNvPr>
          <p:cNvSpPr/>
          <p:nvPr/>
        </p:nvSpPr>
        <p:spPr>
          <a:xfrm>
            <a:off x="7359291" y="1946196"/>
            <a:ext cx="2029842" cy="4113151"/>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PROFITABLE GENRES</a:t>
            </a: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4DC7B1B1-D2BC-4F1D-A798-9C6C9654C1D6}"/>
              </a:ext>
            </a:extLst>
          </p:cNvPr>
          <p:cNvSpPr/>
          <p:nvPr/>
        </p:nvSpPr>
        <p:spPr>
          <a:xfrm>
            <a:off x="5131046" y="1946196"/>
            <a:ext cx="2029842" cy="4113151"/>
          </a:xfrm>
          <a:prstGeom prst="rect">
            <a:avLst/>
          </a:prstGeom>
          <a:no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PROFITABLE MOVIES ARE RELATED WITH POPULARITY? </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50A8E7A7-9F8A-4245-A1D8-821AB0DD9666}"/>
              </a:ext>
            </a:extLst>
          </p:cNvPr>
          <p:cNvSpPr/>
          <p:nvPr/>
        </p:nvSpPr>
        <p:spPr>
          <a:xfrm>
            <a:off x="9587535" y="1946196"/>
            <a:ext cx="2029842" cy="4113151"/>
          </a:xfrm>
          <a:prstGeom prst="rect">
            <a:avLst/>
          </a:prstGeom>
          <a:noFill/>
          <a:ln w="222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WHICH AUDIENCE?</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3" name="Graphic 4">
            <a:extLst>
              <a:ext uri="{FF2B5EF4-FFF2-40B4-BE49-F238E27FC236}">
                <a16:creationId xmlns:a16="http://schemas.microsoft.com/office/drawing/2014/main" id="{EEB2ACD8-2E94-A14D-BB8D-D076B9FA7C9D}"/>
              </a:ext>
            </a:extLst>
          </p:cNvPr>
          <p:cNvGrpSpPr/>
          <p:nvPr/>
        </p:nvGrpSpPr>
        <p:grpSpPr>
          <a:xfrm>
            <a:off x="10269674" y="2758190"/>
            <a:ext cx="669856" cy="670413"/>
            <a:chOff x="467743" y="1402723"/>
            <a:chExt cx="361670" cy="361971"/>
          </a:xfrm>
          <a:solidFill>
            <a:schemeClr val="tx1"/>
          </a:solidFill>
        </p:grpSpPr>
        <p:sp>
          <p:nvSpPr>
            <p:cNvPr id="34" name="Graphic 4">
              <a:extLst>
                <a:ext uri="{FF2B5EF4-FFF2-40B4-BE49-F238E27FC236}">
                  <a16:creationId xmlns:a16="http://schemas.microsoft.com/office/drawing/2014/main" id="{B6FF45EF-4377-CF43-87DD-AE826621A3AD}"/>
                </a:ext>
              </a:extLst>
            </p:cNvPr>
            <p:cNvSpPr/>
            <p:nvPr/>
          </p:nvSpPr>
          <p:spPr>
            <a:xfrm>
              <a:off x="467743" y="1402723"/>
              <a:ext cx="361670" cy="361971"/>
            </a:xfrm>
            <a:custGeom>
              <a:avLst/>
              <a:gdLst>
                <a:gd name="connsiteX0" fmla="*/ 180835 w 361670"/>
                <a:gd name="connsiteY0" fmla="*/ 0 h 361971"/>
                <a:gd name="connsiteX1" fmla="*/ 0 w 361670"/>
                <a:gd name="connsiteY1" fmla="*/ 181305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028 h 361971"/>
                <a:gd name="connsiteX9" fmla="*/ 180835 w 361670"/>
                <a:gd name="connsiteY9" fmla="*/ 12130 h 361971"/>
                <a:gd name="connsiteX10" fmla="*/ 348891 w 361670"/>
                <a:gd name="connsiteY10" fmla="*/ 180028 h 361971"/>
                <a:gd name="connsiteX11" fmla="*/ 180835 w 361670"/>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5" y="0"/>
                  </a:moveTo>
                  <a:cubicBezTo>
                    <a:pt x="80513" y="0"/>
                    <a:pt x="0" y="81077"/>
                    <a:pt x="0" y="181305"/>
                  </a:cubicBezTo>
                  <a:cubicBezTo>
                    <a:pt x="0" y="281534"/>
                    <a:pt x="81152" y="361972"/>
                    <a:pt x="180835" y="361972"/>
                  </a:cubicBezTo>
                  <a:cubicBezTo>
                    <a:pt x="280518" y="361972"/>
                    <a:pt x="361670" y="280895"/>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8565"/>
                  </a:moveTo>
                  <a:cubicBezTo>
                    <a:pt x="87542" y="348565"/>
                    <a:pt x="12780" y="273234"/>
                    <a:pt x="12780" y="180028"/>
                  </a:cubicBezTo>
                  <a:cubicBezTo>
                    <a:pt x="12780" y="86822"/>
                    <a:pt x="87542" y="12130"/>
                    <a:pt x="180835" y="12130"/>
                  </a:cubicBezTo>
                  <a:cubicBezTo>
                    <a:pt x="274128" y="12130"/>
                    <a:pt x="348891" y="87461"/>
                    <a:pt x="348891" y="180028"/>
                  </a:cubicBezTo>
                  <a:cubicBezTo>
                    <a:pt x="348891" y="273234"/>
                    <a:pt x="273489" y="348565"/>
                    <a:pt x="180835" y="348565"/>
                  </a:cubicBez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8E78BB8A-7EC1-AE48-BC20-0AC7FDA626F5}"/>
                </a:ext>
              </a:extLst>
            </p:cNvPr>
            <p:cNvSpPr/>
            <p:nvPr/>
          </p:nvSpPr>
          <p:spPr>
            <a:xfrm>
              <a:off x="541227" y="1497366"/>
              <a:ext cx="214868" cy="171569"/>
            </a:xfrm>
            <a:custGeom>
              <a:avLst/>
              <a:gdLst>
                <a:gd name="connsiteX0" fmla="*/ 210868 w 214868"/>
                <a:gd name="connsiteY0" fmla="*/ 22184 h 171569"/>
                <a:gd name="connsiteX1" fmla="*/ 160387 w 214868"/>
                <a:gd name="connsiteY1" fmla="*/ 479 h 171569"/>
                <a:gd name="connsiteX2" fmla="*/ 155275 w 214868"/>
                <a:gd name="connsiteY2" fmla="*/ 479 h 171569"/>
                <a:gd name="connsiteX3" fmla="*/ 107351 w 214868"/>
                <a:gd name="connsiteY3" fmla="*/ 20908 h 171569"/>
                <a:gd name="connsiteX4" fmla="*/ 59426 w 214868"/>
                <a:gd name="connsiteY4" fmla="*/ 479 h 171569"/>
                <a:gd name="connsiteX5" fmla="*/ 54314 w 214868"/>
                <a:gd name="connsiteY5" fmla="*/ 479 h 171569"/>
                <a:gd name="connsiteX6" fmla="*/ 3834 w 214868"/>
                <a:gd name="connsiteY6" fmla="*/ 22184 h 171569"/>
                <a:gd name="connsiteX7" fmla="*/ 0 w 214868"/>
                <a:gd name="connsiteY7" fmla="*/ 27930 h 171569"/>
                <a:gd name="connsiteX8" fmla="*/ 0 w 214868"/>
                <a:gd name="connsiteY8" fmla="*/ 165186 h 171569"/>
                <a:gd name="connsiteX9" fmla="*/ 2556 w 214868"/>
                <a:gd name="connsiteY9" fmla="*/ 170293 h 171569"/>
                <a:gd name="connsiteX10" fmla="*/ 8946 w 214868"/>
                <a:gd name="connsiteY10" fmla="*/ 170931 h 171569"/>
                <a:gd name="connsiteX11" fmla="*/ 56870 w 214868"/>
                <a:gd name="connsiteY11" fmla="*/ 150502 h 171569"/>
                <a:gd name="connsiteX12" fmla="*/ 104795 w 214868"/>
                <a:gd name="connsiteY12" fmla="*/ 170931 h 171569"/>
                <a:gd name="connsiteX13" fmla="*/ 109907 w 214868"/>
                <a:gd name="connsiteY13" fmla="*/ 170931 h 171569"/>
                <a:gd name="connsiteX14" fmla="*/ 157831 w 214868"/>
                <a:gd name="connsiteY14" fmla="*/ 150502 h 171569"/>
                <a:gd name="connsiteX15" fmla="*/ 205756 w 214868"/>
                <a:gd name="connsiteY15" fmla="*/ 170931 h 171569"/>
                <a:gd name="connsiteX16" fmla="*/ 208312 w 214868"/>
                <a:gd name="connsiteY16" fmla="*/ 171569 h 171569"/>
                <a:gd name="connsiteX17" fmla="*/ 212146 w 214868"/>
                <a:gd name="connsiteY17" fmla="*/ 170293 h 171569"/>
                <a:gd name="connsiteX18" fmla="*/ 214702 w 214868"/>
                <a:gd name="connsiteY18" fmla="*/ 165186 h 171569"/>
                <a:gd name="connsiteX19" fmla="*/ 214702 w 214868"/>
                <a:gd name="connsiteY19" fmla="*/ 27930 h 171569"/>
                <a:gd name="connsiteX20" fmla="*/ 210868 w 214868"/>
                <a:gd name="connsiteY20" fmla="*/ 22184 h 171569"/>
                <a:gd name="connsiteX21" fmla="*/ 63260 w 214868"/>
                <a:gd name="connsiteY21" fmla="*/ 15800 h 171569"/>
                <a:gd name="connsiteX22" fmla="*/ 100961 w 214868"/>
                <a:gd name="connsiteY22" fmla="*/ 31760 h 171569"/>
                <a:gd name="connsiteX23" fmla="*/ 100961 w 214868"/>
                <a:gd name="connsiteY23" fmla="*/ 154971 h 171569"/>
                <a:gd name="connsiteX24" fmla="*/ 63260 w 214868"/>
                <a:gd name="connsiteY24" fmla="*/ 139011 h 171569"/>
                <a:gd name="connsiteX25" fmla="*/ 63260 w 214868"/>
                <a:gd name="connsiteY25" fmla="*/ 15800 h 171569"/>
                <a:gd name="connsiteX26" fmla="*/ 113741 w 214868"/>
                <a:gd name="connsiteY26" fmla="*/ 32399 h 171569"/>
                <a:gd name="connsiteX27" fmla="*/ 151442 w 214868"/>
                <a:gd name="connsiteY27" fmla="*/ 16439 h 171569"/>
                <a:gd name="connsiteX28" fmla="*/ 151442 w 214868"/>
                <a:gd name="connsiteY28" fmla="*/ 139650 h 171569"/>
                <a:gd name="connsiteX29" fmla="*/ 113741 w 214868"/>
                <a:gd name="connsiteY29" fmla="*/ 155610 h 171569"/>
                <a:gd name="connsiteX30" fmla="*/ 113741 w 214868"/>
                <a:gd name="connsiteY30" fmla="*/ 32399 h 171569"/>
                <a:gd name="connsiteX31" fmla="*/ 12141 w 214868"/>
                <a:gd name="connsiteY31" fmla="*/ 32399 h 171569"/>
                <a:gd name="connsiteX32" fmla="*/ 49842 w 214868"/>
                <a:gd name="connsiteY32" fmla="*/ 16439 h 171569"/>
                <a:gd name="connsiteX33" fmla="*/ 49842 w 214868"/>
                <a:gd name="connsiteY33" fmla="*/ 139650 h 171569"/>
                <a:gd name="connsiteX34" fmla="*/ 12141 w 214868"/>
                <a:gd name="connsiteY34" fmla="*/ 155610 h 171569"/>
                <a:gd name="connsiteX35" fmla="*/ 12141 w 214868"/>
                <a:gd name="connsiteY35" fmla="*/ 32399 h 171569"/>
                <a:gd name="connsiteX36" fmla="*/ 201922 w 214868"/>
                <a:gd name="connsiteY36" fmla="*/ 155610 h 171569"/>
                <a:gd name="connsiteX37" fmla="*/ 164221 w 214868"/>
                <a:gd name="connsiteY37" fmla="*/ 139650 h 171569"/>
                <a:gd name="connsiteX38" fmla="*/ 164221 w 214868"/>
                <a:gd name="connsiteY38" fmla="*/ 16439 h 171569"/>
                <a:gd name="connsiteX39" fmla="*/ 201922 w 214868"/>
                <a:gd name="connsiteY39" fmla="*/ 32399 h 171569"/>
                <a:gd name="connsiteX40" fmla="*/ 201922 w 214868"/>
                <a:gd name="connsiteY40" fmla="*/ 155610 h 17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4868" h="171569">
                  <a:moveTo>
                    <a:pt x="210868" y="22184"/>
                  </a:moveTo>
                  <a:lnTo>
                    <a:pt x="160387" y="479"/>
                  </a:lnTo>
                  <a:cubicBezTo>
                    <a:pt x="158470" y="-160"/>
                    <a:pt x="157192" y="-160"/>
                    <a:pt x="155275" y="479"/>
                  </a:cubicBezTo>
                  <a:lnTo>
                    <a:pt x="107351" y="20908"/>
                  </a:lnTo>
                  <a:lnTo>
                    <a:pt x="59426" y="479"/>
                  </a:lnTo>
                  <a:cubicBezTo>
                    <a:pt x="57509" y="-160"/>
                    <a:pt x="56231" y="-160"/>
                    <a:pt x="54314" y="479"/>
                  </a:cubicBezTo>
                  <a:lnTo>
                    <a:pt x="3834" y="22184"/>
                  </a:lnTo>
                  <a:cubicBezTo>
                    <a:pt x="1278" y="23461"/>
                    <a:pt x="0" y="25376"/>
                    <a:pt x="0" y="27930"/>
                  </a:cubicBezTo>
                  <a:lnTo>
                    <a:pt x="0" y="165186"/>
                  </a:lnTo>
                  <a:cubicBezTo>
                    <a:pt x="0" y="167101"/>
                    <a:pt x="1278" y="169654"/>
                    <a:pt x="2556" y="170293"/>
                  </a:cubicBezTo>
                  <a:cubicBezTo>
                    <a:pt x="4473" y="171569"/>
                    <a:pt x="7029" y="171569"/>
                    <a:pt x="8946" y="170931"/>
                  </a:cubicBezTo>
                  <a:lnTo>
                    <a:pt x="56870" y="150502"/>
                  </a:lnTo>
                  <a:lnTo>
                    <a:pt x="104795" y="170931"/>
                  </a:lnTo>
                  <a:cubicBezTo>
                    <a:pt x="106712" y="171569"/>
                    <a:pt x="107990" y="171569"/>
                    <a:pt x="109907" y="170931"/>
                  </a:cubicBezTo>
                  <a:lnTo>
                    <a:pt x="157831" y="150502"/>
                  </a:lnTo>
                  <a:lnTo>
                    <a:pt x="205756" y="170931"/>
                  </a:lnTo>
                  <a:cubicBezTo>
                    <a:pt x="206395" y="171569"/>
                    <a:pt x="207673" y="171569"/>
                    <a:pt x="208312" y="171569"/>
                  </a:cubicBezTo>
                  <a:cubicBezTo>
                    <a:pt x="209590" y="171569"/>
                    <a:pt x="210868" y="170931"/>
                    <a:pt x="212146" y="170293"/>
                  </a:cubicBezTo>
                  <a:cubicBezTo>
                    <a:pt x="214063" y="169016"/>
                    <a:pt x="215341" y="167101"/>
                    <a:pt x="214702" y="165186"/>
                  </a:cubicBezTo>
                  <a:lnTo>
                    <a:pt x="214702" y="27930"/>
                  </a:lnTo>
                  <a:cubicBezTo>
                    <a:pt x="215341" y="25376"/>
                    <a:pt x="213424" y="22823"/>
                    <a:pt x="210868" y="22184"/>
                  </a:cubicBezTo>
                  <a:close/>
                  <a:moveTo>
                    <a:pt x="63260" y="15800"/>
                  </a:moveTo>
                  <a:lnTo>
                    <a:pt x="100961" y="31760"/>
                  </a:lnTo>
                  <a:lnTo>
                    <a:pt x="100961" y="154971"/>
                  </a:lnTo>
                  <a:lnTo>
                    <a:pt x="63260" y="139011"/>
                  </a:lnTo>
                  <a:lnTo>
                    <a:pt x="63260" y="15800"/>
                  </a:lnTo>
                  <a:close/>
                  <a:moveTo>
                    <a:pt x="113741" y="32399"/>
                  </a:moveTo>
                  <a:lnTo>
                    <a:pt x="151442" y="16439"/>
                  </a:lnTo>
                  <a:lnTo>
                    <a:pt x="151442" y="139650"/>
                  </a:lnTo>
                  <a:lnTo>
                    <a:pt x="113741" y="155610"/>
                  </a:lnTo>
                  <a:lnTo>
                    <a:pt x="113741" y="32399"/>
                  </a:lnTo>
                  <a:close/>
                  <a:moveTo>
                    <a:pt x="12141" y="32399"/>
                  </a:moveTo>
                  <a:lnTo>
                    <a:pt x="49842" y="16439"/>
                  </a:lnTo>
                  <a:lnTo>
                    <a:pt x="49842" y="139650"/>
                  </a:lnTo>
                  <a:lnTo>
                    <a:pt x="12141" y="155610"/>
                  </a:lnTo>
                  <a:lnTo>
                    <a:pt x="12141" y="32399"/>
                  </a:lnTo>
                  <a:close/>
                  <a:moveTo>
                    <a:pt x="201922" y="155610"/>
                  </a:moveTo>
                  <a:lnTo>
                    <a:pt x="164221" y="139650"/>
                  </a:lnTo>
                  <a:lnTo>
                    <a:pt x="164221" y="16439"/>
                  </a:lnTo>
                  <a:lnTo>
                    <a:pt x="201922" y="32399"/>
                  </a:lnTo>
                  <a:lnTo>
                    <a:pt x="201922" y="155610"/>
                  </a:lnTo>
                  <a:close/>
                </a:path>
              </a:pathLst>
            </a:custGeom>
            <a:grpFill/>
            <a:ln w="6390" cap="flat">
              <a:noFill/>
              <a:prstDash val="solid"/>
              <a:miter/>
            </a:ln>
          </p:spPr>
          <p:txBody>
            <a:bodyPr rtlCol="0" anchor="ctr"/>
            <a:lstStyle/>
            <a:p>
              <a:endParaRPr lang="en-US"/>
            </a:p>
          </p:txBody>
        </p:sp>
      </p:grpSp>
      <p:grpSp>
        <p:nvGrpSpPr>
          <p:cNvPr id="36" name="Graphic 4">
            <a:extLst>
              <a:ext uri="{FF2B5EF4-FFF2-40B4-BE49-F238E27FC236}">
                <a16:creationId xmlns:a16="http://schemas.microsoft.com/office/drawing/2014/main" id="{C6CCDA0F-EEB5-8046-8E96-0EA839089C39}"/>
              </a:ext>
            </a:extLst>
          </p:cNvPr>
          <p:cNvGrpSpPr/>
          <p:nvPr/>
        </p:nvGrpSpPr>
        <p:grpSpPr>
          <a:xfrm>
            <a:off x="8055413" y="2758190"/>
            <a:ext cx="669856" cy="670413"/>
            <a:chOff x="6754802" y="2855717"/>
            <a:chExt cx="361670" cy="361971"/>
          </a:xfrm>
          <a:solidFill>
            <a:schemeClr val="tx1"/>
          </a:solidFill>
        </p:grpSpPr>
        <p:sp>
          <p:nvSpPr>
            <p:cNvPr id="37" name="Graphic 4">
              <a:extLst>
                <a:ext uri="{FF2B5EF4-FFF2-40B4-BE49-F238E27FC236}">
                  <a16:creationId xmlns:a16="http://schemas.microsoft.com/office/drawing/2014/main" id="{420FBEC3-6DF4-C545-9554-D9C5CC65803D}"/>
                </a:ext>
              </a:extLst>
            </p:cNvPr>
            <p:cNvSpPr/>
            <p:nvPr/>
          </p:nvSpPr>
          <p:spPr>
            <a:xfrm>
              <a:off x="6754802" y="2855717"/>
              <a:ext cx="361670" cy="361971"/>
            </a:xfrm>
            <a:custGeom>
              <a:avLst/>
              <a:gdLst>
                <a:gd name="connsiteX0" fmla="*/ 180836 w 361670"/>
                <a:gd name="connsiteY0" fmla="*/ 0 h 361971"/>
                <a:gd name="connsiteX1" fmla="*/ 0 w 361670"/>
                <a:gd name="connsiteY1" fmla="*/ 180667 h 361971"/>
                <a:gd name="connsiteX2" fmla="*/ 180836 w 361670"/>
                <a:gd name="connsiteY2" fmla="*/ 361972 h 361971"/>
                <a:gd name="connsiteX3" fmla="*/ 361670 w 361670"/>
                <a:gd name="connsiteY3" fmla="*/ 181305 h 361971"/>
                <a:gd name="connsiteX4" fmla="*/ 361670 w 361670"/>
                <a:gd name="connsiteY4" fmla="*/ 181305 h 361971"/>
                <a:gd name="connsiteX5" fmla="*/ 180836 w 361670"/>
                <a:gd name="connsiteY5" fmla="*/ 0 h 361971"/>
                <a:gd name="connsiteX6" fmla="*/ 180836 w 361670"/>
                <a:gd name="connsiteY6" fmla="*/ 349204 h 361971"/>
                <a:gd name="connsiteX7" fmla="*/ 12780 w 361670"/>
                <a:gd name="connsiteY7" fmla="*/ 181305 h 361971"/>
                <a:gd name="connsiteX8" fmla="*/ 180836 w 361670"/>
                <a:gd name="connsiteY8" fmla="*/ 12768 h 361971"/>
                <a:gd name="connsiteX9" fmla="*/ 348890 w 361670"/>
                <a:gd name="connsiteY9" fmla="*/ 180667 h 361971"/>
                <a:gd name="connsiteX10" fmla="*/ 348890 w 361670"/>
                <a:gd name="connsiteY10" fmla="*/ 180667 h 361971"/>
                <a:gd name="connsiteX11" fmla="*/ 180836 w 361670"/>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6" y="0"/>
                  </a:moveTo>
                  <a:cubicBezTo>
                    <a:pt x="80513" y="0"/>
                    <a:pt x="0" y="81076"/>
                    <a:pt x="0" y="180667"/>
                  </a:cubicBezTo>
                  <a:cubicBezTo>
                    <a:pt x="0" y="280895"/>
                    <a:pt x="81153" y="361972"/>
                    <a:pt x="180836" y="361972"/>
                  </a:cubicBezTo>
                  <a:cubicBezTo>
                    <a:pt x="281157" y="361972"/>
                    <a:pt x="361670" y="280895"/>
                    <a:pt x="361670" y="181305"/>
                  </a:cubicBezTo>
                  <a:cubicBezTo>
                    <a:pt x="361670" y="181305"/>
                    <a:pt x="361670" y="181305"/>
                    <a:pt x="361670" y="181305"/>
                  </a:cubicBezTo>
                  <a:cubicBezTo>
                    <a:pt x="361670" y="80438"/>
                    <a:pt x="280518" y="0"/>
                    <a:pt x="180836" y="0"/>
                  </a:cubicBezTo>
                  <a:close/>
                  <a:moveTo>
                    <a:pt x="180836" y="349204"/>
                  </a:moveTo>
                  <a:cubicBezTo>
                    <a:pt x="87543" y="349204"/>
                    <a:pt x="12780" y="273873"/>
                    <a:pt x="12780" y="181305"/>
                  </a:cubicBezTo>
                  <a:cubicBezTo>
                    <a:pt x="12780" y="88099"/>
                    <a:pt x="88181" y="12768"/>
                    <a:pt x="180836" y="12768"/>
                  </a:cubicBezTo>
                  <a:cubicBezTo>
                    <a:pt x="274128" y="12768"/>
                    <a:pt x="348890" y="88099"/>
                    <a:pt x="348890" y="180667"/>
                  </a:cubicBezTo>
                  <a:cubicBezTo>
                    <a:pt x="348890" y="180667"/>
                    <a:pt x="348890" y="180667"/>
                    <a:pt x="348890" y="180667"/>
                  </a:cubicBezTo>
                  <a:cubicBezTo>
                    <a:pt x="348890" y="273234"/>
                    <a:pt x="273490" y="348565"/>
                    <a:pt x="180836" y="349204"/>
                  </a:cubicBez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EBD7519D-FA3A-7C48-9AC4-B26F79408173}"/>
                </a:ext>
              </a:extLst>
            </p:cNvPr>
            <p:cNvSpPr/>
            <p:nvPr/>
          </p:nvSpPr>
          <p:spPr>
            <a:xfrm>
              <a:off x="6827617" y="2959422"/>
              <a:ext cx="214731" cy="129311"/>
            </a:xfrm>
            <a:custGeom>
              <a:avLst/>
              <a:gdLst>
                <a:gd name="connsiteX0" fmla="*/ 200035 w 214731"/>
                <a:gd name="connsiteY0" fmla="*/ 24614 h 129311"/>
                <a:gd name="connsiteX1" fmla="*/ 198757 w 214731"/>
                <a:gd name="connsiteY1" fmla="*/ 15676 h 129311"/>
                <a:gd name="connsiteX2" fmla="*/ 191089 w 214731"/>
                <a:gd name="connsiteY2" fmla="*/ 15676 h 129311"/>
                <a:gd name="connsiteX3" fmla="*/ 177671 w 214731"/>
                <a:gd name="connsiteY3" fmla="*/ 25891 h 129311"/>
                <a:gd name="connsiteX4" fmla="*/ 25590 w 214731"/>
                <a:gd name="connsiteY4" fmla="*/ 38020 h 129311"/>
                <a:gd name="connsiteX5" fmla="*/ 30 w 214731"/>
                <a:gd name="connsiteY5" fmla="*/ 108244 h 129311"/>
                <a:gd name="connsiteX6" fmla="*/ 6420 w 214731"/>
                <a:gd name="connsiteY6" fmla="*/ 114628 h 129311"/>
                <a:gd name="connsiteX7" fmla="*/ 12810 w 214731"/>
                <a:gd name="connsiteY7" fmla="*/ 108244 h 129311"/>
                <a:gd name="connsiteX8" fmla="*/ 107381 w 214731"/>
                <a:gd name="connsiteY8" fmla="*/ 13123 h 129311"/>
                <a:gd name="connsiteX9" fmla="*/ 166807 w 214731"/>
                <a:gd name="connsiteY9" fmla="*/ 34190 h 129311"/>
                <a:gd name="connsiteX10" fmla="*/ 92684 w 214731"/>
                <a:gd name="connsiteY10" fmla="*/ 91007 h 129311"/>
                <a:gd name="connsiteX11" fmla="*/ 92045 w 214731"/>
                <a:gd name="connsiteY11" fmla="*/ 91646 h 129311"/>
                <a:gd name="connsiteX12" fmla="*/ 92045 w 214731"/>
                <a:gd name="connsiteY12" fmla="*/ 122927 h 129311"/>
                <a:gd name="connsiteX13" fmla="*/ 107381 w 214731"/>
                <a:gd name="connsiteY13" fmla="*/ 129311 h 129311"/>
                <a:gd name="connsiteX14" fmla="*/ 107381 w 214731"/>
                <a:gd name="connsiteY14" fmla="*/ 129311 h 129311"/>
                <a:gd name="connsiteX15" fmla="*/ 122717 w 214731"/>
                <a:gd name="connsiteY15" fmla="*/ 122927 h 129311"/>
                <a:gd name="connsiteX16" fmla="*/ 123356 w 214731"/>
                <a:gd name="connsiteY16" fmla="*/ 122289 h 129311"/>
                <a:gd name="connsiteX17" fmla="*/ 180866 w 214731"/>
                <a:gd name="connsiteY17" fmla="*/ 48873 h 129311"/>
                <a:gd name="connsiteX18" fmla="*/ 201952 w 214731"/>
                <a:gd name="connsiteY18" fmla="*/ 108882 h 129311"/>
                <a:gd name="connsiteX19" fmla="*/ 208342 w 214731"/>
                <a:gd name="connsiteY19" fmla="*/ 115266 h 129311"/>
                <a:gd name="connsiteX20" fmla="*/ 214732 w 214731"/>
                <a:gd name="connsiteY20" fmla="*/ 108882 h 129311"/>
                <a:gd name="connsiteX21" fmla="*/ 188533 w 214731"/>
                <a:gd name="connsiteY21" fmla="*/ 38659 h 129311"/>
                <a:gd name="connsiteX22" fmla="*/ 200035 w 214731"/>
                <a:gd name="connsiteY22" fmla="*/ 24614 h 129311"/>
                <a:gd name="connsiteX23" fmla="*/ 113771 w 214731"/>
                <a:gd name="connsiteY23" fmla="*/ 113351 h 129311"/>
                <a:gd name="connsiteX24" fmla="*/ 107381 w 214731"/>
                <a:gd name="connsiteY24" fmla="*/ 115905 h 129311"/>
                <a:gd name="connsiteX25" fmla="*/ 107381 w 214731"/>
                <a:gd name="connsiteY25" fmla="*/ 115905 h 129311"/>
                <a:gd name="connsiteX26" fmla="*/ 100991 w 214731"/>
                <a:gd name="connsiteY26" fmla="*/ 113351 h 129311"/>
                <a:gd name="connsiteX27" fmla="*/ 100991 w 214731"/>
                <a:gd name="connsiteY27" fmla="*/ 100583 h 129311"/>
                <a:gd name="connsiteX28" fmla="*/ 158501 w 214731"/>
                <a:gd name="connsiteY28" fmla="*/ 56534 h 129311"/>
                <a:gd name="connsiteX29" fmla="*/ 113771 w 214731"/>
                <a:gd name="connsiteY29" fmla="*/ 113351 h 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4731" h="129311">
                  <a:moveTo>
                    <a:pt x="200035" y="24614"/>
                  </a:moveTo>
                  <a:cubicBezTo>
                    <a:pt x="201952" y="22060"/>
                    <a:pt x="201313" y="17592"/>
                    <a:pt x="198757" y="15676"/>
                  </a:cubicBezTo>
                  <a:cubicBezTo>
                    <a:pt x="196201" y="13761"/>
                    <a:pt x="193645" y="13761"/>
                    <a:pt x="191089" y="15676"/>
                  </a:cubicBezTo>
                  <a:lnTo>
                    <a:pt x="177671" y="25891"/>
                  </a:lnTo>
                  <a:cubicBezTo>
                    <a:pt x="132301" y="-13052"/>
                    <a:pt x="64568" y="-7306"/>
                    <a:pt x="25590" y="38020"/>
                  </a:cubicBezTo>
                  <a:cubicBezTo>
                    <a:pt x="8976" y="57811"/>
                    <a:pt x="-609" y="82070"/>
                    <a:pt x="30" y="108244"/>
                  </a:cubicBezTo>
                  <a:cubicBezTo>
                    <a:pt x="30" y="112074"/>
                    <a:pt x="2586" y="114628"/>
                    <a:pt x="6420" y="114628"/>
                  </a:cubicBezTo>
                  <a:cubicBezTo>
                    <a:pt x="10254" y="114628"/>
                    <a:pt x="12810" y="112074"/>
                    <a:pt x="12810" y="108244"/>
                  </a:cubicBezTo>
                  <a:cubicBezTo>
                    <a:pt x="12810" y="55895"/>
                    <a:pt x="54983" y="13123"/>
                    <a:pt x="107381" y="13123"/>
                  </a:cubicBezTo>
                  <a:cubicBezTo>
                    <a:pt x="129106" y="13123"/>
                    <a:pt x="150194" y="20784"/>
                    <a:pt x="166807" y="34190"/>
                  </a:cubicBezTo>
                  <a:lnTo>
                    <a:pt x="92684" y="91007"/>
                  </a:lnTo>
                  <a:lnTo>
                    <a:pt x="92045" y="91646"/>
                  </a:lnTo>
                  <a:cubicBezTo>
                    <a:pt x="83738" y="99945"/>
                    <a:pt x="83738" y="113990"/>
                    <a:pt x="92045" y="122927"/>
                  </a:cubicBezTo>
                  <a:cubicBezTo>
                    <a:pt x="95879" y="126758"/>
                    <a:pt x="101630" y="129311"/>
                    <a:pt x="107381" y="129311"/>
                  </a:cubicBezTo>
                  <a:lnTo>
                    <a:pt x="107381" y="129311"/>
                  </a:lnTo>
                  <a:cubicBezTo>
                    <a:pt x="113132" y="129311"/>
                    <a:pt x="118883" y="126758"/>
                    <a:pt x="122717" y="122927"/>
                  </a:cubicBezTo>
                  <a:lnTo>
                    <a:pt x="123356" y="122289"/>
                  </a:lnTo>
                  <a:lnTo>
                    <a:pt x="180866" y="48873"/>
                  </a:lnTo>
                  <a:cubicBezTo>
                    <a:pt x="194923" y="65471"/>
                    <a:pt x="201952" y="87177"/>
                    <a:pt x="201952" y="108882"/>
                  </a:cubicBezTo>
                  <a:cubicBezTo>
                    <a:pt x="201952" y="112713"/>
                    <a:pt x="204508" y="115266"/>
                    <a:pt x="208342" y="115266"/>
                  </a:cubicBezTo>
                  <a:cubicBezTo>
                    <a:pt x="212176" y="115266"/>
                    <a:pt x="214732" y="112713"/>
                    <a:pt x="214732" y="108882"/>
                  </a:cubicBezTo>
                  <a:cubicBezTo>
                    <a:pt x="214732" y="83347"/>
                    <a:pt x="205786" y="58449"/>
                    <a:pt x="188533" y="38659"/>
                  </a:cubicBezTo>
                  <a:lnTo>
                    <a:pt x="200035" y="24614"/>
                  </a:lnTo>
                  <a:close/>
                  <a:moveTo>
                    <a:pt x="113771" y="113351"/>
                  </a:moveTo>
                  <a:cubicBezTo>
                    <a:pt x="111854" y="115266"/>
                    <a:pt x="109937" y="115905"/>
                    <a:pt x="107381" y="115905"/>
                  </a:cubicBezTo>
                  <a:lnTo>
                    <a:pt x="107381" y="115905"/>
                  </a:lnTo>
                  <a:cubicBezTo>
                    <a:pt x="104825" y="115905"/>
                    <a:pt x="102908" y="114628"/>
                    <a:pt x="100991" y="113351"/>
                  </a:cubicBezTo>
                  <a:cubicBezTo>
                    <a:pt x="97796" y="109521"/>
                    <a:pt x="97796" y="104414"/>
                    <a:pt x="100991" y="100583"/>
                  </a:cubicBezTo>
                  <a:lnTo>
                    <a:pt x="158501" y="56534"/>
                  </a:lnTo>
                  <a:lnTo>
                    <a:pt x="113771" y="113351"/>
                  </a:lnTo>
                  <a:close/>
                </a:path>
              </a:pathLst>
            </a:custGeom>
            <a:grpFill/>
            <a:ln w="6390" cap="flat">
              <a:noFill/>
              <a:prstDash val="solid"/>
              <a:miter/>
            </a:ln>
          </p:spPr>
          <p:txBody>
            <a:bodyPr rtlCol="0" anchor="ctr"/>
            <a:lstStyle/>
            <a:p>
              <a:endParaRPr lang="en-US"/>
            </a:p>
          </p:txBody>
        </p:sp>
      </p:grpSp>
      <p:grpSp>
        <p:nvGrpSpPr>
          <p:cNvPr id="39" name="Graphic 4">
            <a:extLst>
              <a:ext uri="{FF2B5EF4-FFF2-40B4-BE49-F238E27FC236}">
                <a16:creationId xmlns:a16="http://schemas.microsoft.com/office/drawing/2014/main" id="{BAC8D941-AE70-D34D-9496-2B7F30C95CA7}"/>
              </a:ext>
            </a:extLst>
          </p:cNvPr>
          <p:cNvGrpSpPr/>
          <p:nvPr/>
        </p:nvGrpSpPr>
        <p:grpSpPr>
          <a:xfrm>
            <a:off x="1412369" y="2758190"/>
            <a:ext cx="671039" cy="670413"/>
            <a:chOff x="2560447" y="1402723"/>
            <a:chExt cx="362309" cy="361971"/>
          </a:xfrm>
          <a:solidFill>
            <a:schemeClr val="tx1"/>
          </a:solidFill>
        </p:grpSpPr>
        <p:sp>
          <p:nvSpPr>
            <p:cNvPr id="40" name="Graphic 4">
              <a:extLst>
                <a:ext uri="{FF2B5EF4-FFF2-40B4-BE49-F238E27FC236}">
                  <a16:creationId xmlns:a16="http://schemas.microsoft.com/office/drawing/2014/main" id="{7D8D9E7F-C3B7-974D-A78B-6B9906E0BD85}"/>
                </a:ext>
              </a:extLst>
            </p:cNvPr>
            <p:cNvSpPr/>
            <p:nvPr/>
          </p:nvSpPr>
          <p:spPr>
            <a:xfrm>
              <a:off x="2560447" y="140272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8565 h 361971"/>
                <a:gd name="connsiteX7" fmla="*/ 12780 w 362309"/>
                <a:gd name="connsiteY7" fmla="*/ 180667 h 361971"/>
                <a:gd name="connsiteX8" fmla="*/ 180835 w 362309"/>
                <a:gd name="connsiteY8" fmla="*/ 12130 h 361971"/>
                <a:gd name="connsiteX9" fmla="*/ 349529 w 362309"/>
                <a:gd name="connsiteY9" fmla="*/ 180028 h 361971"/>
                <a:gd name="connsiteX10" fmla="*/ 349529 w 362309"/>
                <a:gd name="connsiteY10" fmla="*/ 180028 h 361971"/>
                <a:gd name="connsiteX11" fmla="*/ 181474 w 362309"/>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181474" y="348565"/>
                  </a:moveTo>
                  <a:cubicBezTo>
                    <a:pt x="88181" y="348565"/>
                    <a:pt x="12780" y="273234"/>
                    <a:pt x="12780" y="180667"/>
                  </a:cubicBezTo>
                  <a:cubicBezTo>
                    <a:pt x="12780" y="88099"/>
                    <a:pt x="88181" y="12130"/>
                    <a:pt x="180835" y="12130"/>
                  </a:cubicBezTo>
                  <a:cubicBezTo>
                    <a:pt x="273489" y="12130"/>
                    <a:pt x="349529" y="87461"/>
                    <a:pt x="349529" y="180028"/>
                  </a:cubicBezTo>
                  <a:cubicBezTo>
                    <a:pt x="349529" y="180028"/>
                    <a:pt x="349529" y="180028"/>
                    <a:pt x="349529" y="180028"/>
                  </a:cubicBezTo>
                  <a:cubicBezTo>
                    <a:pt x="349529" y="273234"/>
                    <a:pt x="274128" y="348565"/>
                    <a:pt x="181474" y="348565"/>
                  </a:cubicBez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D3D45733-2577-9142-9A63-0E832B9C7DBF}"/>
                </a:ext>
              </a:extLst>
            </p:cNvPr>
            <p:cNvSpPr/>
            <p:nvPr/>
          </p:nvSpPr>
          <p:spPr>
            <a:xfrm>
              <a:off x="2699748" y="1460162"/>
              <a:ext cx="84986" cy="117481"/>
            </a:xfrm>
            <a:custGeom>
              <a:avLst/>
              <a:gdLst>
                <a:gd name="connsiteX0" fmla="*/ 42813 w 84986"/>
                <a:gd name="connsiteY0" fmla="*/ 117482 h 117481"/>
                <a:gd name="connsiteX1" fmla="*/ 47925 w 84986"/>
                <a:gd name="connsiteY1" fmla="*/ 114928 h 117481"/>
                <a:gd name="connsiteX2" fmla="*/ 84986 w 84986"/>
                <a:gd name="connsiteY2" fmla="*/ 40874 h 117481"/>
                <a:gd name="connsiteX3" fmla="*/ 40896 w 84986"/>
                <a:gd name="connsiteY3" fmla="*/ 17 h 117481"/>
                <a:gd name="connsiteX4" fmla="*/ 0 w 84986"/>
                <a:gd name="connsiteY4" fmla="*/ 40874 h 117481"/>
                <a:gd name="connsiteX5" fmla="*/ 37062 w 84986"/>
                <a:gd name="connsiteY5" fmla="*/ 114928 h 117481"/>
                <a:gd name="connsiteX6" fmla="*/ 42813 w 84986"/>
                <a:gd name="connsiteY6" fmla="*/ 117482 h 117481"/>
                <a:gd name="connsiteX7" fmla="*/ 42813 w 84986"/>
                <a:gd name="connsiteY7" fmla="*/ 10869 h 117481"/>
                <a:gd name="connsiteX8" fmla="*/ 72206 w 84986"/>
                <a:gd name="connsiteY8" fmla="*/ 40236 h 117481"/>
                <a:gd name="connsiteX9" fmla="*/ 42813 w 84986"/>
                <a:gd name="connsiteY9" fmla="*/ 99607 h 117481"/>
                <a:gd name="connsiteX10" fmla="*/ 13419 w 84986"/>
                <a:gd name="connsiteY10" fmla="*/ 40236 h 117481"/>
                <a:gd name="connsiteX11" fmla="*/ 42813 w 84986"/>
                <a:gd name="connsiteY11" fmla="*/ 10869 h 117481"/>
                <a:gd name="connsiteX12" fmla="*/ 42813 w 84986"/>
                <a:gd name="connsiteY12" fmla="*/ 10869 h 11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86" h="117481">
                  <a:moveTo>
                    <a:pt x="42813" y="117482"/>
                  </a:moveTo>
                  <a:cubicBezTo>
                    <a:pt x="44730" y="117482"/>
                    <a:pt x="46646" y="116205"/>
                    <a:pt x="47925" y="114928"/>
                  </a:cubicBezTo>
                  <a:cubicBezTo>
                    <a:pt x="51759" y="109821"/>
                    <a:pt x="84986" y="61941"/>
                    <a:pt x="84986" y="40874"/>
                  </a:cubicBezTo>
                  <a:cubicBezTo>
                    <a:pt x="84347" y="17253"/>
                    <a:pt x="64538" y="-622"/>
                    <a:pt x="40896" y="17"/>
                  </a:cubicBezTo>
                  <a:cubicBezTo>
                    <a:pt x="18531" y="655"/>
                    <a:pt x="1278" y="18530"/>
                    <a:pt x="0" y="40874"/>
                  </a:cubicBezTo>
                  <a:cubicBezTo>
                    <a:pt x="0" y="61941"/>
                    <a:pt x="33228" y="109821"/>
                    <a:pt x="37062" y="114928"/>
                  </a:cubicBezTo>
                  <a:cubicBezTo>
                    <a:pt x="38340" y="116843"/>
                    <a:pt x="40257" y="117482"/>
                    <a:pt x="42813" y="117482"/>
                  </a:cubicBezTo>
                  <a:close/>
                  <a:moveTo>
                    <a:pt x="42813" y="10869"/>
                  </a:moveTo>
                  <a:cubicBezTo>
                    <a:pt x="59426" y="10869"/>
                    <a:pt x="72206" y="24276"/>
                    <a:pt x="72206" y="40236"/>
                  </a:cubicBezTo>
                  <a:cubicBezTo>
                    <a:pt x="72206" y="51727"/>
                    <a:pt x="55593" y="79816"/>
                    <a:pt x="42813" y="99607"/>
                  </a:cubicBezTo>
                  <a:cubicBezTo>
                    <a:pt x="30033" y="79816"/>
                    <a:pt x="13419" y="51727"/>
                    <a:pt x="13419" y="40236"/>
                  </a:cubicBezTo>
                  <a:cubicBezTo>
                    <a:pt x="12780" y="24276"/>
                    <a:pt x="26199" y="10869"/>
                    <a:pt x="42813" y="10869"/>
                  </a:cubicBezTo>
                  <a:lnTo>
                    <a:pt x="42813" y="10869"/>
                  </a:lnTo>
                  <a:close/>
                </a:path>
              </a:pathLst>
            </a:custGeom>
            <a:grp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A0C3D6D7-49B6-E04F-A77D-C65A79A6CADA}"/>
                </a:ext>
              </a:extLst>
            </p:cNvPr>
            <p:cNvSpPr/>
            <p:nvPr/>
          </p:nvSpPr>
          <p:spPr>
            <a:xfrm>
              <a:off x="2621824" y="1557118"/>
              <a:ext cx="200733" cy="129692"/>
            </a:xfrm>
            <a:custGeom>
              <a:avLst/>
              <a:gdLst>
                <a:gd name="connsiteX0" fmla="*/ 145657 w 200733"/>
                <a:gd name="connsiteY0" fmla="*/ 43509 h 129692"/>
                <a:gd name="connsiteX1" fmla="*/ 196138 w 200733"/>
                <a:gd name="connsiteY1" fmla="*/ 38402 h 129692"/>
                <a:gd name="connsiteX2" fmla="*/ 200611 w 200733"/>
                <a:gd name="connsiteY2" fmla="*/ 24995 h 129692"/>
                <a:gd name="connsiteX3" fmla="*/ 155242 w 200733"/>
                <a:gd name="connsiteY3" fmla="*/ 98 h 129692"/>
                <a:gd name="connsiteX4" fmla="*/ 148213 w 200733"/>
                <a:gd name="connsiteY4" fmla="*/ 5843 h 129692"/>
                <a:gd name="connsiteX5" fmla="*/ 153964 w 200733"/>
                <a:gd name="connsiteY5" fmla="*/ 12866 h 129692"/>
                <a:gd name="connsiteX6" fmla="*/ 153964 w 200733"/>
                <a:gd name="connsiteY6" fmla="*/ 12866 h 129692"/>
                <a:gd name="connsiteX7" fmla="*/ 188470 w 200733"/>
                <a:gd name="connsiteY7" fmla="*/ 25634 h 129692"/>
                <a:gd name="connsiteX8" fmla="*/ 187831 w 200733"/>
                <a:gd name="connsiteY8" fmla="*/ 29464 h 129692"/>
                <a:gd name="connsiteX9" fmla="*/ 146935 w 200733"/>
                <a:gd name="connsiteY9" fmla="*/ 30741 h 129692"/>
                <a:gd name="connsiteX10" fmla="*/ 129682 w 200733"/>
                <a:gd name="connsiteY10" fmla="*/ 29464 h 129692"/>
                <a:gd name="connsiteX11" fmla="*/ 26804 w 200733"/>
                <a:gd name="connsiteY11" fmla="*/ 40317 h 129692"/>
                <a:gd name="connsiteX12" fmla="*/ 14025 w 200733"/>
                <a:gd name="connsiteY12" fmla="*/ 126501 h 129692"/>
                <a:gd name="connsiteX13" fmla="*/ 19136 w 200733"/>
                <a:gd name="connsiteY13" fmla="*/ 129693 h 129692"/>
                <a:gd name="connsiteX14" fmla="*/ 22331 w 200733"/>
                <a:gd name="connsiteY14" fmla="*/ 129054 h 129692"/>
                <a:gd name="connsiteX15" fmla="*/ 24248 w 200733"/>
                <a:gd name="connsiteY15" fmla="*/ 120117 h 129692"/>
                <a:gd name="connsiteX16" fmla="*/ 24248 w 200733"/>
                <a:gd name="connsiteY16" fmla="*/ 120117 h 129692"/>
                <a:gd name="connsiteX17" fmla="*/ 33194 w 200733"/>
                <a:gd name="connsiteY17" fmla="*/ 51170 h 129692"/>
                <a:gd name="connsiteX18" fmla="*/ 127765 w 200733"/>
                <a:gd name="connsiteY18" fmla="*/ 42232 h 129692"/>
                <a:gd name="connsiteX19" fmla="*/ 145657 w 200733"/>
                <a:gd name="connsiteY19" fmla="*/ 43509 h 12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733" h="129692">
                  <a:moveTo>
                    <a:pt x="145657" y="43509"/>
                  </a:moveTo>
                  <a:cubicBezTo>
                    <a:pt x="178246" y="46062"/>
                    <a:pt x="189748" y="44786"/>
                    <a:pt x="196138" y="38402"/>
                  </a:cubicBezTo>
                  <a:cubicBezTo>
                    <a:pt x="199333" y="34571"/>
                    <a:pt x="201250" y="30102"/>
                    <a:pt x="200611" y="24995"/>
                  </a:cubicBezTo>
                  <a:cubicBezTo>
                    <a:pt x="199972" y="7120"/>
                    <a:pt x="165466" y="2013"/>
                    <a:pt x="155242" y="98"/>
                  </a:cubicBezTo>
                  <a:cubicBezTo>
                    <a:pt x="152047" y="-541"/>
                    <a:pt x="148852" y="2013"/>
                    <a:pt x="148213" y="5843"/>
                  </a:cubicBezTo>
                  <a:cubicBezTo>
                    <a:pt x="147574" y="9035"/>
                    <a:pt x="150130" y="12227"/>
                    <a:pt x="153964" y="12866"/>
                  </a:cubicBezTo>
                  <a:cubicBezTo>
                    <a:pt x="153964" y="12866"/>
                    <a:pt x="153964" y="12866"/>
                    <a:pt x="153964" y="12866"/>
                  </a:cubicBezTo>
                  <a:cubicBezTo>
                    <a:pt x="172495" y="15419"/>
                    <a:pt x="188470" y="21803"/>
                    <a:pt x="188470" y="25634"/>
                  </a:cubicBezTo>
                  <a:cubicBezTo>
                    <a:pt x="188470" y="27549"/>
                    <a:pt x="188470" y="28826"/>
                    <a:pt x="187831" y="29464"/>
                  </a:cubicBezTo>
                  <a:cubicBezTo>
                    <a:pt x="183358" y="33294"/>
                    <a:pt x="157798" y="32018"/>
                    <a:pt x="146935" y="30741"/>
                  </a:cubicBezTo>
                  <a:lnTo>
                    <a:pt x="129682" y="29464"/>
                  </a:lnTo>
                  <a:cubicBezTo>
                    <a:pt x="92621" y="26272"/>
                    <a:pt x="53642" y="23080"/>
                    <a:pt x="26804" y="40317"/>
                  </a:cubicBezTo>
                  <a:cubicBezTo>
                    <a:pt x="-3867" y="60107"/>
                    <a:pt x="-8340" y="91389"/>
                    <a:pt x="14025" y="126501"/>
                  </a:cubicBezTo>
                  <a:cubicBezTo>
                    <a:pt x="15303" y="128416"/>
                    <a:pt x="17220" y="129693"/>
                    <a:pt x="19136" y="129693"/>
                  </a:cubicBezTo>
                  <a:cubicBezTo>
                    <a:pt x="20414" y="129693"/>
                    <a:pt x="21693" y="129054"/>
                    <a:pt x="22331" y="129054"/>
                  </a:cubicBezTo>
                  <a:cubicBezTo>
                    <a:pt x="25526" y="127139"/>
                    <a:pt x="26165" y="123309"/>
                    <a:pt x="24248" y="120117"/>
                  </a:cubicBezTo>
                  <a:cubicBezTo>
                    <a:pt x="24248" y="120117"/>
                    <a:pt x="24248" y="120117"/>
                    <a:pt x="24248" y="120117"/>
                  </a:cubicBezTo>
                  <a:cubicBezTo>
                    <a:pt x="11469" y="99688"/>
                    <a:pt x="1884" y="70960"/>
                    <a:pt x="33194" y="51170"/>
                  </a:cubicBezTo>
                  <a:cubicBezTo>
                    <a:pt x="56198" y="36486"/>
                    <a:pt x="92621" y="39040"/>
                    <a:pt x="127765" y="42232"/>
                  </a:cubicBezTo>
                  <a:cubicBezTo>
                    <a:pt x="134155" y="42870"/>
                    <a:pt x="139906" y="43509"/>
                    <a:pt x="145657" y="43509"/>
                  </a:cubicBez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719C1AB6-560B-5A40-9652-8FADCE832235}"/>
                </a:ext>
              </a:extLst>
            </p:cNvPr>
            <p:cNvSpPr/>
            <p:nvPr/>
          </p:nvSpPr>
          <p:spPr>
            <a:xfrm>
              <a:off x="2719341" y="1538702"/>
              <a:ext cx="142164" cy="170452"/>
            </a:xfrm>
            <a:custGeom>
              <a:avLst/>
              <a:gdLst>
                <a:gd name="connsiteX0" fmla="*/ 136322 w 142164"/>
                <a:gd name="connsiteY0" fmla="*/ 29366 h 170452"/>
                <a:gd name="connsiteX1" fmla="*/ 65393 w 142164"/>
                <a:gd name="connsiteY1" fmla="*/ 0 h 170452"/>
                <a:gd name="connsiteX2" fmla="*/ 58365 w 142164"/>
                <a:gd name="connsiteY2" fmla="*/ 5746 h 170452"/>
                <a:gd name="connsiteX3" fmla="*/ 64116 w 142164"/>
                <a:gd name="connsiteY3" fmla="*/ 12768 h 170452"/>
                <a:gd name="connsiteX4" fmla="*/ 125459 w 142164"/>
                <a:gd name="connsiteY4" fmla="*/ 37027 h 170452"/>
                <a:gd name="connsiteX5" fmla="*/ 128015 w 142164"/>
                <a:gd name="connsiteY5" fmla="*/ 56179 h 170452"/>
                <a:gd name="connsiteX6" fmla="*/ 89036 w 142164"/>
                <a:gd name="connsiteY6" fmla="*/ 82353 h 170452"/>
                <a:gd name="connsiteX7" fmla="*/ 45585 w 142164"/>
                <a:gd name="connsiteY7" fmla="*/ 86184 h 170452"/>
                <a:gd name="connsiteX8" fmla="*/ 27054 w 142164"/>
                <a:gd name="connsiteY8" fmla="*/ 86184 h 170452"/>
                <a:gd name="connsiteX9" fmla="*/ 2133 w 142164"/>
                <a:gd name="connsiteY9" fmla="*/ 106613 h 170452"/>
                <a:gd name="connsiteX10" fmla="*/ 25137 w 142164"/>
                <a:gd name="connsiteY10" fmla="*/ 168537 h 170452"/>
                <a:gd name="connsiteX11" fmla="*/ 34083 w 142164"/>
                <a:gd name="connsiteY11" fmla="*/ 168537 h 170452"/>
                <a:gd name="connsiteX12" fmla="*/ 34083 w 142164"/>
                <a:gd name="connsiteY12" fmla="*/ 159600 h 170452"/>
                <a:gd name="connsiteX13" fmla="*/ 34083 w 142164"/>
                <a:gd name="connsiteY13" fmla="*/ 159600 h 170452"/>
                <a:gd name="connsiteX14" fmla="*/ 14274 w 142164"/>
                <a:gd name="connsiteY14" fmla="*/ 111081 h 170452"/>
                <a:gd name="connsiteX15" fmla="*/ 28332 w 142164"/>
                <a:gd name="connsiteY15" fmla="*/ 99590 h 170452"/>
                <a:gd name="connsiteX16" fmla="*/ 44946 w 142164"/>
                <a:gd name="connsiteY16" fmla="*/ 99590 h 170452"/>
                <a:gd name="connsiteX17" fmla="*/ 90953 w 142164"/>
                <a:gd name="connsiteY17" fmla="*/ 95760 h 170452"/>
                <a:gd name="connsiteX18" fmla="*/ 139517 w 142164"/>
                <a:gd name="connsiteY18" fmla="*/ 60648 h 170452"/>
                <a:gd name="connsiteX19" fmla="*/ 136322 w 142164"/>
                <a:gd name="connsiteY19" fmla="*/ 29366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164" h="170452">
                  <a:moveTo>
                    <a:pt x="136322" y="29366"/>
                  </a:moveTo>
                  <a:cubicBezTo>
                    <a:pt x="118430" y="4469"/>
                    <a:pt x="67950" y="0"/>
                    <a:pt x="65393" y="0"/>
                  </a:cubicBezTo>
                  <a:cubicBezTo>
                    <a:pt x="61560" y="0"/>
                    <a:pt x="59004" y="2554"/>
                    <a:pt x="58365" y="5746"/>
                  </a:cubicBezTo>
                  <a:cubicBezTo>
                    <a:pt x="58365" y="9576"/>
                    <a:pt x="60921" y="12130"/>
                    <a:pt x="64116" y="12768"/>
                  </a:cubicBezTo>
                  <a:cubicBezTo>
                    <a:pt x="76895" y="14045"/>
                    <a:pt x="113318" y="19790"/>
                    <a:pt x="125459" y="37027"/>
                  </a:cubicBezTo>
                  <a:cubicBezTo>
                    <a:pt x="129293" y="42773"/>
                    <a:pt x="130571" y="49795"/>
                    <a:pt x="128015" y="56179"/>
                  </a:cubicBezTo>
                  <a:cubicBezTo>
                    <a:pt x="124820" y="68309"/>
                    <a:pt x="109484" y="77885"/>
                    <a:pt x="89036" y="82353"/>
                  </a:cubicBezTo>
                  <a:cubicBezTo>
                    <a:pt x="74978" y="85545"/>
                    <a:pt x="60282" y="86184"/>
                    <a:pt x="45585" y="86184"/>
                  </a:cubicBezTo>
                  <a:cubicBezTo>
                    <a:pt x="39195" y="85545"/>
                    <a:pt x="33444" y="85545"/>
                    <a:pt x="27054" y="86184"/>
                  </a:cubicBezTo>
                  <a:cubicBezTo>
                    <a:pt x="15552" y="87461"/>
                    <a:pt x="5967" y="95121"/>
                    <a:pt x="2133" y="106613"/>
                  </a:cubicBezTo>
                  <a:cubicBezTo>
                    <a:pt x="-1062" y="114912"/>
                    <a:pt x="-4896" y="137894"/>
                    <a:pt x="25137" y="168537"/>
                  </a:cubicBezTo>
                  <a:cubicBezTo>
                    <a:pt x="27693" y="171091"/>
                    <a:pt x="31527" y="171091"/>
                    <a:pt x="34083" y="168537"/>
                  </a:cubicBezTo>
                  <a:cubicBezTo>
                    <a:pt x="36639" y="165984"/>
                    <a:pt x="36639" y="162153"/>
                    <a:pt x="34083" y="159600"/>
                  </a:cubicBezTo>
                  <a:lnTo>
                    <a:pt x="34083" y="159600"/>
                  </a:lnTo>
                  <a:cubicBezTo>
                    <a:pt x="16830" y="141724"/>
                    <a:pt x="9162" y="123849"/>
                    <a:pt x="14274" y="111081"/>
                  </a:cubicBezTo>
                  <a:cubicBezTo>
                    <a:pt x="16191" y="104697"/>
                    <a:pt x="21942" y="100229"/>
                    <a:pt x="28332" y="99590"/>
                  </a:cubicBezTo>
                  <a:cubicBezTo>
                    <a:pt x="34083" y="98952"/>
                    <a:pt x="39834" y="98952"/>
                    <a:pt x="44946" y="99590"/>
                  </a:cubicBezTo>
                  <a:cubicBezTo>
                    <a:pt x="60282" y="100229"/>
                    <a:pt x="75617" y="98952"/>
                    <a:pt x="90953" y="95760"/>
                  </a:cubicBezTo>
                  <a:cubicBezTo>
                    <a:pt x="116513" y="90653"/>
                    <a:pt x="135044" y="77246"/>
                    <a:pt x="139517" y="60648"/>
                  </a:cubicBezTo>
                  <a:cubicBezTo>
                    <a:pt x="143990" y="49795"/>
                    <a:pt x="142712" y="38304"/>
                    <a:pt x="136322" y="29366"/>
                  </a:cubicBezTo>
                  <a:close/>
                </a:path>
              </a:pathLst>
            </a:custGeom>
            <a:grpFill/>
            <a:ln w="6390" cap="flat">
              <a:noFill/>
              <a:prstDash val="solid"/>
              <a:miter/>
            </a:ln>
          </p:spPr>
          <p:txBody>
            <a:bodyPr rtlCol="0" anchor="ctr"/>
            <a:lstStyle/>
            <a:p>
              <a:endParaRPr lang="en-US"/>
            </a:p>
          </p:txBody>
        </p:sp>
      </p:grpSp>
      <p:grpSp>
        <p:nvGrpSpPr>
          <p:cNvPr id="44" name="Graphic 4">
            <a:extLst>
              <a:ext uri="{FF2B5EF4-FFF2-40B4-BE49-F238E27FC236}">
                <a16:creationId xmlns:a16="http://schemas.microsoft.com/office/drawing/2014/main" id="{1ADA81A2-D7EA-134F-86A1-A879A8BA4214}"/>
              </a:ext>
            </a:extLst>
          </p:cNvPr>
          <p:cNvGrpSpPr/>
          <p:nvPr/>
        </p:nvGrpSpPr>
        <p:grpSpPr>
          <a:xfrm>
            <a:off x="5824972" y="2758190"/>
            <a:ext cx="671046" cy="670413"/>
            <a:chOff x="5708130" y="1402723"/>
            <a:chExt cx="362313" cy="361971"/>
          </a:xfrm>
          <a:solidFill>
            <a:schemeClr val="tx1"/>
          </a:solidFill>
        </p:grpSpPr>
        <p:sp>
          <p:nvSpPr>
            <p:cNvPr id="45" name="Graphic 4">
              <a:extLst>
                <a:ext uri="{FF2B5EF4-FFF2-40B4-BE49-F238E27FC236}">
                  <a16:creationId xmlns:a16="http://schemas.microsoft.com/office/drawing/2014/main" id="{A5298AE9-B21C-BD40-833A-F20E6387E696}"/>
                </a:ext>
              </a:extLst>
            </p:cNvPr>
            <p:cNvSpPr/>
            <p:nvPr/>
          </p:nvSpPr>
          <p:spPr>
            <a:xfrm>
              <a:off x="5708130"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30"/>
                    <a:pt x="180835" y="12130"/>
                  </a:cubicBezTo>
                  <a:cubicBezTo>
                    <a:pt x="274128" y="12130"/>
                    <a:pt x="349530" y="87461"/>
                    <a:pt x="349530" y="180028"/>
                  </a:cubicBezTo>
                  <a:lnTo>
                    <a:pt x="349530" y="180028"/>
                  </a:lnTo>
                  <a:cubicBezTo>
                    <a:pt x="349530" y="273234"/>
                    <a:pt x="274767" y="348565"/>
                    <a:pt x="181474" y="348565"/>
                  </a:cubicBez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E7D04A5F-045F-B948-9F5A-2A23AE9F0118}"/>
                </a:ext>
              </a:extLst>
            </p:cNvPr>
            <p:cNvSpPr/>
            <p:nvPr/>
          </p:nvSpPr>
          <p:spPr>
            <a:xfrm>
              <a:off x="5939411" y="1644676"/>
              <a:ext cx="35179" cy="35111"/>
            </a:xfrm>
            <a:custGeom>
              <a:avLst/>
              <a:gdLst>
                <a:gd name="connsiteX0" fmla="*/ 17926 w 35179"/>
                <a:gd name="connsiteY0" fmla="*/ 0 h 35111"/>
                <a:gd name="connsiteX1" fmla="*/ 35 w 35179"/>
                <a:gd name="connsiteY1" fmla="*/ 17237 h 35111"/>
                <a:gd name="connsiteX2" fmla="*/ 17287 w 35179"/>
                <a:gd name="connsiteY2" fmla="*/ 35112 h 35111"/>
                <a:gd name="connsiteX3" fmla="*/ 35179 w 35179"/>
                <a:gd name="connsiteY3" fmla="*/ 17875 h 35111"/>
                <a:gd name="connsiteX4" fmla="*/ 35179 w 35179"/>
                <a:gd name="connsiteY4" fmla="*/ 17237 h 35111"/>
                <a:gd name="connsiteX5" fmla="*/ 17926 w 35179"/>
                <a:gd name="connsiteY5" fmla="*/ 0 h 35111"/>
                <a:gd name="connsiteX6" fmla="*/ 17926 w 35179"/>
                <a:gd name="connsiteY6" fmla="*/ 22344 h 35111"/>
                <a:gd name="connsiteX7" fmla="*/ 13453 w 35179"/>
                <a:gd name="connsiteY7" fmla="*/ 17875 h 35111"/>
                <a:gd name="connsiteX8" fmla="*/ 17926 w 35179"/>
                <a:gd name="connsiteY8" fmla="*/ 13406 h 35111"/>
                <a:gd name="connsiteX9" fmla="*/ 22399 w 35179"/>
                <a:gd name="connsiteY9" fmla="*/ 17875 h 35111"/>
                <a:gd name="connsiteX10" fmla="*/ 17926 w 35179"/>
                <a:gd name="connsiteY10" fmla="*/ 22344 h 35111"/>
                <a:gd name="connsiteX11" fmla="*/ 17926 w 35179"/>
                <a:gd name="connsiteY11" fmla="*/ 22344 h 3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79" h="35111">
                  <a:moveTo>
                    <a:pt x="17926" y="0"/>
                  </a:moveTo>
                  <a:cubicBezTo>
                    <a:pt x="8341" y="0"/>
                    <a:pt x="673" y="7661"/>
                    <a:pt x="35" y="17237"/>
                  </a:cubicBezTo>
                  <a:cubicBezTo>
                    <a:pt x="-604" y="26813"/>
                    <a:pt x="7703" y="34473"/>
                    <a:pt x="17287" y="35112"/>
                  </a:cubicBezTo>
                  <a:cubicBezTo>
                    <a:pt x="26872" y="35112"/>
                    <a:pt x="34540" y="27451"/>
                    <a:pt x="35179" y="17875"/>
                  </a:cubicBezTo>
                  <a:cubicBezTo>
                    <a:pt x="35179" y="17875"/>
                    <a:pt x="35179" y="17875"/>
                    <a:pt x="35179" y="17237"/>
                  </a:cubicBezTo>
                  <a:cubicBezTo>
                    <a:pt x="35179" y="7661"/>
                    <a:pt x="27511" y="0"/>
                    <a:pt x="17926" y="0"/>
                  </a:cubicBezTo>
                  <a:close/>
                  <a:moveTo>
                    <a:pt x="17926" y="22344"/>
                  </a:moveTo>
                  <a:cubicBezTo>
                    <a:pt x="15371" y="22344"/>
                    <a:pt x="13453" y="20429"/>
                    <a:pt x="13453" y="17875"/>
                  </a:cubicBezTo>
                  <a:cubicBezTo>
                    <a:pt x="13453" y="15322"/>
                    <a:pt x="15371" y="13406"/>
                    <a:pt x="17926" y="13406"/>
                  </a:cubicBezTo>
                  <a:cubicBezTo>
                    <a:pt x="20482" y="13406"/>
                    <a:pt x="22399" y="15322"/>
                    <a:pt x="22399" y="17875"/>
                  </a:cubicBezTo>
                  <a:cubicBezTo>
                    <a:pt x="22399" y="19790"/>
                    <a:pt x="20482" y="21706"/>
                    <a:pt x="17926" y="22344"/>
                  </a:cubicBezTo>
                  <a:lnTo>
                    <a:pt x="17926" y="22344"/>
                  </a:ln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0A43DCD6-5289-C74A-BB52-96BB161E18A8}"/>
                </a:ext>
              </a:extLst>
            </p:cNvPr>
            <p:cNvSpPr/>
            <p:nvPr/>
          </p:nvSpPr>
          <p:spPr>
            <a:xfrm>
              <a:off x="5807813" y="1644676"/>
              <a:ext cx="34505" cy="34473"/>
            </a:xfrm>
            <a:custGeom>
              <a:avLst/>
              <a:gdLst>
                <a:gd name="connsiteX0" fmla="*/ 17253 w 34505"/>
                <a:gd name="connsiteY0" fmla="*/ 0 h 34473"/>
                <a:gd name="connsiteX1" fmla="*/ 0 w 34505"/>
                <a:gd name="connsiteY1" fmla="*/ 17237 h 34473"/>
                <a:gd name="connsiteX2" fmla="*/ 17253 w 34505"/>
                <a:gd name="connsiteY2" fmla="*/ 34473 h 34473"/>
                <a:gd name="connsiteX3" fmla="*/ 34505 w 34505"/>
                <a:gd name="connsiteY3" fmla="*/ 17237 h 34473"/>
                <a:gd name="connsiteX4" fmla="*/ 34505 w 34505"/>
                <a:gd name="connsiteY4" fmla="*/ 17237 h 34473"/>
                <a:gd name="connsiteX5" fmla="*/ 17253 w 34505"/>
                <a:gd name="connsiteY5" fmla="*/ 0 h 34473"/>
                <a:gd name="connsiteX6" fmla="*/ 17253 w 34505"/>
                <a:gd name="connsiteY6" fmla="*/ 22344 h 34473"/>
                <a:gd name="connsiteX7" fmla="*/ 12780 w 34505"/>
                <a:gd name="connsiteY7" fmla="*/ 17875 h 34473"/>
                <a:gd name="connsiteX8" fmla="*/ 17253 w 34505"/>
                <a:gd name="connsiteY8" fmla="*/ 13406 h 34473"/>
                <a:gd name="connsiteX9" fmla="*/ 21726 w 34505"/>
                <a:gd name="connsiteY9" fmla="*/ 17875 h 34473"/>
                <a:gd name="connsiteX10" fmla="*/ 17253 w 34505"/>
                <a:gd name="connsiteY10" fmla="*/ 22344 h 34473"/>
                <a:gd name="connsiteX11" fmla="*/ 17253 w 34505"/>
                <a:gd name="connsiteY11" fmla="*/ 2234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05" h="34473">
                  <a:moveTo>
                    <a:pt x="17253" y="0"/>
                  </a:moveTo>
                  <a:cubicBezTo>
                    <a:pt x="7668" y="0"/>
                    <a:pt x="0" y="7661"/>
                    <a:pt x="0" y="17237"/>
                  </a:cubicBezTo>
                  <a:cubicBezTo>
                    <a:pt x="0" y="26813"/>
                    <a:pt x="7668" y="34473"/>
                    <a:pt x="17253" y="34473"/>
                  </a:cubicBezTo>
                  <a:cubicBezTo>
                    <a:pt x="26837" y="34473"/>
                    <a:pt x="34505" y="26813"/>
                    <a:pt x="34505" y="17237"/>
                  </a:cubicBezTo>
                  <a:cubicBezTo>
                    <a:pt x="34505" y="17237"/>
                    <a:pt x="34505" y="17237"/>
                    <a:pt x="34505" y="17237"/>
                  </a:cubicBezTo>
                  <a:cubicBezTo>
                    <a:pt x="34505" y="7661"/>
                    <a:pt x="26837" y="0"/>
                    <a:pt x="17253" y="0"/>
                  </a:cubicBezTo>
                  <a:close/>
                  <a:moveTo>
                    <a:pt x="17253" y="22344"/>
                  </a:moveTo>
                  <a:cubicBezTo>
                    <a:pt x="14697" y="22344"/>
                    <a:pt x="12780" y="20429"/>
                    <a:pt x="12780" y="17875"/>
                  </a:cubicBezTo>
                  <a:cubicBezTo>
                    <a:pt x="12780" y="15322"/>
                    <a:pt x="14697" y="13406"/>
                    <a:pt x="17253" y="13406"/>
                  </a:cubicBezTo>
                  <a:cubicBezTo>
                    <a:pt x="19809" y="13406"/>
                    <a:pt x="21726" y="15322"/>
                    <a:pt x="21726" y="17875"/>
                  </a:cubicBezTo>
                  <a:cubicBezTo>
                    <a:pt x="21726" y="19790"/>
                    <a:pt x="19809" y="21706"/>
                    <a:pt x="17253" y="22344"/>
                  </a:cubicBezTo>
                  <a:lnTo>
                    <a:pt x="17253" y="22344"/>
                  </a:ln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04E85287-EE09-D347-BE96-1ADB8B365D92}"/>
                </a:ext>
              </a:extLst>
            </p:cNvPr>
            <p:cNvSpPr/>
            <p:nvPr/>
          </p:nvSpPr>
          <p:spPr>
            <a:xfrm>
              <a:off x="5772030" y="1578283"/>
              <a:ext cx="233392" cy="85004"/>
            </a:xfrm>
            <a:custGeom>
              <a:avLst/>
              <a:gdLst>
                <a:gd name="connsiteX0" fmla="*/ 170611 w 233392"/>
                <a:gd name="connsiteY0" fmla="*/ 22344 h 85004"/>
                <a:gd name="connsiteX1" fmla="*/ 105434 w 233392"/>
                <a:gd name="connsiteY1" fmla="*/ 0 h 85004"/>
                <a:gd name="connsiteX2" fmla="*/ 103517 w 233392"/>
                <a:gd name="connsiteY2" fmla="*/ 0 h 85004"/>
                <a:gd name="connsiteX3" fmla="*/ 29394 w 233392"/>
                <a:gd name="connsiteY3" fmla="*/ 19790 h 85004"/>
                <a:gd name="connsiteX4" fmla="*/ 14697 w 233392"/>
                <a:gd name="connsiteY4" fmla="*/ 21706 h 85004"/>
                <a:gd name="connsiteX5" fmla="*/ 5112 w 233392"/>
                <a:gd name="connsiteY5" fmla="*/ 32558 h 85004"/>
                <a:gd name="connsiteX6" fmla="*/ 5112 w 233392"/>
                <a:gd name="connsiteY6" fmla="*/ 45326 h 85004"/>
                <a:gd name="connsiteX7" fmla="*/ 1917 w 233392"/>
                <a:gd name="connsiteY7" fmla="*/ 49795 h 85004"/>
                <a:gd name="connsiteX8" fmla="*/ 0 w 233392"/>
                <a:gd name="connsiteY8" fmla="*/ 56179 h 85004"/>
                <a:gd name="connsiteX9" fmla="*/ 0 w 233392"/>
                <a:gd name="connsiteY9" fmla="*/ 71500 h 85004"/>
                <a:gd name="connsiteX10" fmla="*/ 8307 w 233392"/>
                <a:gd name="connsiteY10" fmla="*/ 81715 h 85004"/>
                <a:gd name="connsiteX11" fmla="*/ 21087 w 233392"/>
                <a:gd name="connsiteY11" fmla="*/ 84907 h 85004"/>
                <a:gd name="connsiteX12" fmla="*/ 22365 w 233392"/>
                <a:gd name="connsiteY12" fmla="*/ 84907 h 85004"/>
                <a:gd name="connsiteX13" fmla="*/ 29394 w 233392"/>
                <a:gd name="connsiteY13" fmla="*/ 79161 h 85004"/>
                <a:gd name="connsiteX14" fmla="*/ 23643 w 233392"/>
                <a:gd name="connsiteY14" fmla="*/ 72139 h 85004"/>
                <a:gd name="connsiteX15" fmla="*/ 12141 w 233392"/>
                <a:gd name="connsiteY15" fmla="*/ 69585 h 85004"/>
                <a:gd name="connsiteX16" fmla="*/ 12141 w 233392"/>
                <a:gd name="connsiteY16" fmla="*/ 56179 h 85004"/>
                <a:gd name="connsiteX17" fmla="*/ 15975 w 233392"/>
                <a:gd name="connsiteY17" fmla="*/ 50433 h 85004"/>
                <a:gd name="connsiteX18" fmla="*/ 17253 w 233392"/>
                <a:gd name="connsiteY18" fmla="*/ 46603 h 85004"/>
                <a:gd name="connsiteX19" fmla="*/ 17253 w 233392"/>
                <a:gd name="connsiteY19" fmla="*/ 33835 h 85004"/>
                <a:gd name="connsiteX20" fmla="*/ 31950 w 233392"/>
                <a:gd name="connsiteY20" fmla="*/ 31920 h 85004"/>
                <a:gd name="connsiteX21" fmla="*/ 34506 w 233392"/>
                <a:gd name="connsiteY21" fmla="*/ 30643 h 85004"/>
                <a:gd name="connsiteX22" fmla="*/ 103517 w 233392"/>
                <a:gd name="connsiteY22" fmla="*/ 12130 h 85004"/>
                <a:gd name="connsiteX23" fmla="*/ 104795 w 233392"/>
                <a:gd name="connsiteY23" fmla="*/ 12130 h 85004"/>
                <a:gd name="connsiteX24" fmla="*/ 163583 w 233392"/>
                <a:gd name="connsiteY24" fmla="*/ 33197 h 85004"/>
                <a:gd name="connsiteX25" fmla="*/ 166778 w 233392"/>
                <a:gd name="connsiteY25" fmla="*/ 34473 h 85004"/>
                <a:gd name="connsiteX26" fmla="*/ 221092 w 233392"/>
                <a:gd name="connsiteY26" fmla="*/ 48518 h 85004"/>
                <a:gd name="connsiteX27" fmla="*/ 216619 w 233392"/>
                <a:gd name="connsiteY27" fmla="*/ 70224 h 85004"/>
                <a:gd name="connsiteX28" fmla="*/ 212146 w 233392"/>
                <a:gd name="connsiteY28" fmla="*/ 70862 h 85004"/>
                <a:gd name="connsiteX29" fmla="*/ 206395 w 233392"/>
                <a:gd name="connsiteY29" fmla="*/ 77884 h 85004"/>
                <a:gd name="connsiteX30" fmla="*/ 213424 w 233392"/>
                <a:gd name="connsiteY30" fmla="*/ 83630 h 85004"/>
                <a:gd name="connsiteX31" fmla="*/ 219175 w 233392"/>
                <a:gd name="connsiteY31" fmla="*/ 82992 h 85004"/>
                <a:gd name="connsiteX32" fmla="*/ 228121 w 233392"/>
                <a:gd name="connsiteY32" fmla="*/ 74692 h 85004"/>
                <a:gd name="connsiteX33" fmla="*/ 233233 w 233392"/>
                <a:gd name="connsiteY33" fmla="*/ 50433 h 85004"/>
                <a:gd name="connsiteX34" fmla="*/ 229399 w 233392"/>
                <a:gd name="connsiteY34" fmla="*/ 39581 h 85004"/>
                <a:gd name="connsiteX35" fmla="*/ 170611 w 233392"/>
                <a:gd name="connsiteY35" fmla="*/ 22344 h 8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3392" h="85004">
                  <a:moveTo>
                    <a:pt x="170611" y="22344"/>
                  </a:moveTo>
                  <a:cubicBezTo>
                    <a:pt x="152080" y="8299"/>
                    <a:pt x="129077" y="0"/>
                    <a:pt x="105434" y="0"/>
                  </a:cubicBezTo>
                  <a:lnTo>
                    <a:pt x="103517" y="0"/>
                  </a:lnTo>
                  <a:cubicBezTo>
                    <a:pt x="77318" y="0"/>
                    <a:pt x="51759" y="7022"/>
                    <a:pt x="29394" y="19790"/>
                  </a:cubicBezTo>
                  <a:lnTo>
                    <a:pt x="14697" y="21706"/>
                  </a:lnTo>
                  <a:cubicBezTo>
                    <a:pt x="9585" y="22344"/>
                    <a:pt x="5112" y="26813"/>
                    <a:pt x="5112" y="32558"/>
                  </a:cubicBezTo>
                  <a:lnTo>
                    <a:pt x="5112" y="45326"/>
                  </a:lnTo>
                  <a:lnTo>
                    <a:pt x="1917" y="49795"/>
                  </a:lnTo>
                  <a:cubicBezTo>
                    <a:pt x="639" y="51710"/>
                    <a:pt x="0" y="53625"/>
                    <a:pt x="0" y="56179"/>
                  </a:cubicBezTo>
                  <a:lnTo>
                    <a:pt x="0" y="71500"/>
                  </a:lnTo>
                  <a:cubicBezTo>
                    <a:pt x="0" y="76608"/>
                    <a:pt x="3834" y="81076"/>
                    <a:pt x="8307" y="81715"/>
                  </a:cubicBezTo>
                  <a:lnTo>
                    <a:pt x="21087" y="84907"/>
                  </a:lnTo>
                  <a:cubicBezTo>
                    <a:pt x="21726" y="84907"/>
                    <a:pt x="21726" y="84907"/>
                    <a:pt x="22365" y="84907"/>
                  </a:cubicBezTo>
                  <a:cubicBezTo>
                    <a:pt x="26199" y="85545"/>
                    <a:pt x="28755" y="82992"/>
                    <a:pt x="29394" y="79161"/>
                  </a:cubicBezTo>
                  <a:cubicBezTo>
                    <a:pt x="30033" y="75331"/>
                    <a:pt x="27477" y="72777"/>
                    <a:pt x="23643" y="72139"/>
                  </a:cubicBezTo>
                  <a:lnTo>
                    <a:pt x="12141" y="69585"/>
                  </a:lnTo>
                  <a:lnTo>
                    <a:pt x="12141" y="56179"/>
                  </a:lnTo>
                  <a:lnTo>
                    <a:pt x="15975" y="50433"/>
                  </a:lnTo>
                  <a:cubicBezTo>
                    <a:pt x="16614" y="49157"/>
                    <a:pt x="17253" y="47880"/>
                    <a:pt x="17253" y="46603"/>
                  </a:cubicBezTo>
                  <a:lnTo>
                    <a:pt x="17253" y="33835"/>
                  </a:lnTo>
                  <a:lnTo>
                    <a:pt x="31950" y="31920"/>
                  </a:lnTo>
                  <a:cubicBezTo>
                    <a:pt x="33228" y="31920"/>
                    <a:pt x="33867" y="31281"/>
                    <a:pt x="34506" y="30643"/>
                  </a:cubicBezTo>
                  <a:cubicBezTo>
                    <a:pt x="55593" y="17875"/>
                    <a:pt x="79235" y="11491"/>
                    <a:pt x="103517" y="12130"/>
                  </a:cubicBezTo>
                  <a:lnTo>
                    <a:pt x="104795" y="12130"/>
                  </a:lnTo>
                  <a:cubicBezTo>
                    <a:pt x="125882" y="12768"/>
                    <a:pt x="146969" y="19790"/>
                    <a:pt x="163583" y="33197"/>
                  </a:cubicBezTo>
                  <a:cubicBezTo>
                    <a:pt x="164860" y="33835"/>
                    <a:pt x="165500" y="34473"/>
                    <a:pt x="166778" y="34473"/>
                  </a:cubicBezTo>
                  <a:cubicBezTo>
                    <a:pt x="185308" y="36389"/>
                    <a:pt x="210229" y="40857"/>
                    <a:pt x="221092" y="48518"/>
                  </a:cubicBezTo>
                  <a:lnTo>
                    <a:pt x="216619" y="70224"/>
                  </a:lnTo>
                  <a:lnTo>
                    <a:pt x="212146" y="70862"/>
                  </a:lnTo>
                  <a:cubicBezTo>
                    <a:pt x="208312" y="71500"/>
                    <a:pt x="206395" y="74692"/>
                    <a:pt x="206395" y="77884"/>
                  </a:cubicBezTo>
                  <a:cubicBezTo>
                    <a:pt x="206395" y="81076"/>
                    <a:pt x="210229" y="83630"/>
                    <a:pt x="213424" y="83630"/>
                  </a:cubicBezTo>
                  <a:lnTo>
                    <a:pt x="219175" y="82992"/>
                  </a:lnTo>
                  <a:cubicBezTo>
                    <a:pt x="223648" y="82353"/>
                    <a:pt x="227482" y="79161"/>
                    <a:pt x="228121" y="74692"/>
                  </a:cubicBezTo>
                  <a:lnTo>
                    <a:pt x="233233" y="50433"/>
                  </a:lnTo>
                  <a:cubicBezTo>
                    <a:pt x="233872" y="46603"/>
                    <a:pt x="232594" y="42134"/>
                    <a:pt x="229399" y="39581"/>
                  </a:cubicBezTo>
                  <a:cubicBezTo>
                    <a:pt x="215980" y="28728"/>
                    <a:pt x="183391" y="23621"/>
                    <a:pt x="170611" y="22344"/>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8B589EFD-C51F-F44B-9DA3-DE7070FD97AA}"/>
                </a:ext>
              </a:extLst>
            </p:cNvPr>
            <p:cNvSpPr/>
            <p:nvPr/>
          </p:nvSpPr>
          <p:spPr>
            <a:xfrm>
              <a:off x="5848070" y="1653613"/>
              <a:ext cx="86902" cy="12767"/>
            </a:xfrm>
            <a:custGeom>
              <a:avLst/>
              <a:gdLst>
                <a:gd name="connsiteX0" fmla="*/ 80513 w 86902"/>
                <a:gd name="connsiteY0" fmla="*/ 0 h 12767"/>
                <a:gd name="connsiteX1" fmla="*/ 6390 w 86902"/>
                <a:gd name="connsiteY1" fmla="*/ 0 h 12767"/>
                <a:gd name="connsiteX2" fmla="*/ 0 w 86902"/>
                <a:gd name="connsiteY2" fmla="*/ 6384 h 12767"/>
                <a:gd name="connsiteX3" fmla="*/ 6390 w 86902"/>
                <a:gd name="connsiteY3" fmla="*/ 12768 h 12767"/>
                <a:gd name="connsiteX4" fmla="*/ 80513 w 86902"/>
                <a:gd name="connsiteY4" fmla="*/ 12768 h 12767"/>
                <a:gd name="connsiteX5" fmla="*/ 86903 w 86902"/>
                <a:gd name="connsiteY5" fmla="*/ 6384 h 12767"/>
                <a:gd name="connsiteX6" fmla="*/ 80513 w 8690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02" h="12767">
                  <a:moveTo>
                    <a:pt x="80513" y="0"/>
                  </a:moveTo>
                  <a:lnTo>
                    <a:pt x="6390" y="0"/>
                  </a:lnTo>
                  <a:cubicBezTo>
                    <a:pt x="2556" y="0"/>
                    <a:pt x="0" y="2554"/>
                    <a:pt x="0" y="6384"/>
                  </a:cubicBezTo>
                  <a:cubicBezTo>
                    <a:pt x="0" y="10214"/>
                    <a:pt x="2556" y="12768"/>
                    <a:pt x="6390" y="12768"/>
                  </a:cubicBezTo>
                  <a:lnTo>
                    <a:pt x="80513" y="12768"/>
                  </a:lnTo>
                  <a:cubicBezTo>
                    <a:pt x="84347" y="12768"/>
                    <a:pt x="86903" y="10214"/>
                    <a:pt x="86903" y="6384"/>
                  </a:cubicBezTo>
                  <a:cubicBezTo>
                    <a:pt x="86903" y="2554"/>
                    <a:pt x="83708" y="0"/>
                    <a:pt x="80513" y="0"/>
                  </a:cubicBezTo>
                  <a:close/>
                </a:path>
              </a:pathLst>
            </a:custGeom>
            <a:grp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1F7216D3-6AE0-F642-B66B-51B5450ABE9A}"/>
                </a:ext>
              </a:extLst>
            </p:cNvPr>
            <p:cNvSpPr/>
            <p:nvPr/>
          </p:nvSpPr>
          <p:spPr>
            <a:xfrm>
              <a:off x="5864045" y="1531006"/>
              <a:ext cx="33866" cy="33869"/>
            </a:xfrm>
            <a:custGeom>
              <a:avLst/>
              <a:gdLst>
                <a:gd name="connsiteX0" fmla="*/ 0 w 33866"/>
                <a:gd name="connsiteY0" fmla="*/ 16633 h 33869"/>
                <a:gd name="connsiteX1" fmla="*/ 17253 w 33866"/>
                <a:gd name="connsiteY1" fmla="*/ 33870 h 33869"/>
                <a:gd name="connsiteX2" fmla="*/ 33867 w 33866"/>
                <a:gd name="connsiteY2" fmla="*/ 17271 h 33869"/>
                <a:gd name="connsiteX3" fmla="*/ 17253 w 33866"/>
                <a:gd name="connsiteY3" fmla="*/ 35 h 33869"/>
                <a:gd name="connsiteX4" fmla="*/ 0 w 33866"/>
                <a:gd name="connsiteY4" fmla="*/ 16633 h 33869"/>
                <a:gd name="connsiteX5" fmla="*/ 0 w 33866"/>
                <a:gd name="connsiteY5" fmla="*/ 16633 h 33869"/>
                <a:gd name="connsiteX6" fmla="*/ 21087 w 33866"/>
                <a:gd name="connsiteY6" fmla="*/ 16633 h 33869"/>
                <a:gd name="connsiteX7" fmla="*/ 16614 w 33866"/>
                <a:gd name="connsiteY7" fmla="*/ 21102 h 33869"/>
                <a:gd name="connsiteX8" fmla="*/ 12780 w 33866"/>
                <a:gd name="connsiteY8" fmla="*/ 17271 h 33869"/>
                <a:gd name="connsiteX9" fmla="*/ 16614 w 33866"/>
                <a:gd name="connsiteY9" fmla="*/ 12803 h 33869"/>
                <a:gd name="connsiteX10" fmla="*/ 21087 w 33866"/>
                <a:gd name="connsiteY10" fmla="*/ 16633 h 33869"/>
                <a:gd name="connsiteX11" fmla="*/ 21087 w 33866"/>
                <a:gd name="connsiteY11" fmla="*/ 16633 h 3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866" h="33869">
                  <a:moveTo>
                    <a:pt x="0" y="16633"/>
                  </a:moveTo>
                  <a:cubicBezTo>
                    <a:pt x="0" y="26209"/>
                    <a:pt x="7668" y="33870"/>
                    <a:pt x="17253" y="33870"/>
                  </a:cubicBezTo>
                  <a:cubicBezTo>
                    <a:pt x="26838" y="33870"/>
                    <a:pt x="33867" y="26209"/>
                    <a:pt x="33867" y="17271"/>
                  </a:cubicBezTo>
                  <a:cubicBezTo>
                    <a:pt x="33867" y="8334"/>
                    <a:pt x="26199" y="673"/>
                    <a:pt x="17253" y="35"/>
                  </a:cubicBezTo>
                  <a:cubicBezTo>
                    <a:pt x="8307" y="-604"/>
                    <a:pt x="0" y="7695"/>
                    <a:pt x="0" y="16633"/>
                  </a:cubicBezTo>
                  <a:lnTo>
                    <a:pt x="0" y="16633"/>
                  </a:lnTo>
                  <a:close/>
                  <a:moveTo>
                    <a:pt x="21087" y="16633"/>
                  </a:moveTo>
                  <a:cubicBezTo>
                    <a:pt x="21087" y="19187"/>
                    <a:pt x="19170" y="21102"/>
                    <a:pt x="16614" y="21102"/>
                  </a:cubicBezTo>
                  <a:cubicBezTo>
                    <a:pt x="14058" y="21102"/>
                    <a:pt x="12780" y="19187"/>
                    <a:pt x="12780" y="17271"/>
                  </a:cubicBezTo>
                  <a:cubicBezTo>
                    <a:pt x="12780" y="15356"/>
                    <a:pt x="14697" y="13441"/>
                    <a:pt x="16614" y="12803"/>
                  </a:cubicBezTo>
                  <a:cubicBezTo>
                    <a:pt x="19170" y="12803"/>
                    <a:pt x="21087" y="14718"/>
                    <a:pt x="21087" y="16633"/>
                  </a:cubicBezTo>
                  <a:lnTo>
                    <a:pt x="21087" y="16633"/>
                  </a:lnTo>
                  <a:close/>
                </a:path>
              </a:pathLst>
            </a:custGeom>
            <a:grpFill/>
            <a:ln w="6390" cap="flat">
              <a:noFill/>
              <a:prstDash val="solid"/>
              <a:miter/>
            </a:ln>
          </p:spPr>
          <p:txBody>
            <a:bodyPr rtlCol="0" anchor="ctr"/>
            <a:lstStyle/>
            <a:p>
              <a:endParaRPr lang="en-US"/>
            </a:p>
          </p:txBody>
        </p:sp>
        <p:sp>
          <p:nvSpPr>
            <p:cNvPr id="56" name="Graphic 4">
              <a:extLst>
                <a:ext uri="{FF2B5EF4-FFF2-40B4-BE49-F238E27FC236}">
                  <a16:creationId xmlns:a16="http://schemas.microsoft.com/office/drawing/2014/main" id="{205C3C6F-4BE4-274E-B3DF-487BB36C32FF}"/>
                </a:ext>
              </a:extLst>
            </p:cNvPr>
            <p:cNvSpPr/>
            <p:nvPr/>
          </p:nvSpPr>
          <p:spPr>
            <a:xfrm>
              <a:off x="5825675" y="1474701"/>
              <a:ext cx="111051" cy="36549"/>
            </a:xfrm>
            <a:custGeom>
              <a:avLst/>
              <a:gdLst>
                <a:gd name="connsiteX0" fmla="*/ 5781 w 111051"/>
                <a:gd name="connsiteY0" fmla="*/ 36549 h 36549"/>
                <a:gd name="connsiteX1" fmla="*/ 10893 w 111051"/>
                <a:gd name="connsiteY1" fmla="*/ 33996 h 36549"/>
                <a:gd name="connsiteX2" fmla="*/ 90128 w 111051"/>
                <a:gd name="connsiteY2" fmla="*/ 24420 h 36549"/>
                <a:gd name="connsiteX3" fmla="*/ 99713 w 111051"/>
                <a:gd name="connsiteY3" fmla="*/ 33996 h 36549"/>
                <a:gd name="connsiteX4" fmla="*/ 108659 w 111051"/>
                <a:gd name="connsiteY4" fmla="*/ 35273 h 36549"/>
                <a:gd name="connsiteX5" fmla="*/ 109937 w 111051"/>
                <a:gd name="connsiteY5" fmla="*/ 26335 h 36549"/>
                <a:gd name="connsiteX6" fmla="*/ 12810 w 111051"/>
                <a:gd name="connsiteY6" fmla="*/ 14844 h 36549"/>
                <a:gd name="connsiteX7" fmla="*/ 1309 w 111051"/>
                <a:gd name="connsiteY7" fmla="*/ 26335 h 36549"/>
                <a:gd name="connsiteX8" fmla="*/ 2586 w 111051"/>
                <a:gd name="connsiteY8" fmla="*/ 35273 h 36549"/>
                <a:gd name="connsiteX9" fmla="*/ 5781 w 111051"/>
                <a:gd name="connsiteY9" fmla="*/ 36549 h 36549"/>
                <a:gd name="connsiteX10" fmla="*/ 5781 w 111051"/>
                <a:gd name="connsiteY10" fmla="*/ 36549 h 3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51" h="36549">
                  <a:moveTo>
                    <a:pt x="5781" y="36549"/>
                  </a:moveTo>
                  <a:cubicBezTo>
                    <a:pt x="7698" y="36549"/>
                    <a:pt x="9615" y="35911"/>
                    <a:pt x="10893" y="33996"/>
                  </a:cubicBezTo>
                  <a:cubicBezTo>
                    <a:pt x="30063" y="9737"/>
                    <a:pt x="65847" y="5268"/>
                    <a:pt x="90128" y="24420"/>
                  </a:cubicBezTo>
                  <a:cubicBezTo>
                    <a:pt x="93963" y="26973"/>
                    <a:pt x="96518" y="30165"/>
                    <a:pt x="99713" y="33996"/>
                  </a:cubicBezTo>
                  <a:cubicBezTo>
                    <a:pt x="101630" y="36549"/>
                    <a:pt x="106103" y="37188"/>
                    <a:pt x="108659" y="35273"/>
                  </a:cubicBezTo>
                  <a:cubicBezTo>
                    <a:pt x="111215" y="33357"/>
                    <a:pt x="111854" y="28889"/>
                    <a:pt x="109937" y="26335"/>
                  </a:cubicBezTo>
                  <a:cubicBezTo>
                    <a:pt x="86295" y="-3670"/>
                    <a:pt x="42843" y="-8777"/>
                    <a:pt x="12810" y="14844"/>
                  </a:cubicBezTo>
                  <a:cubicBezTo>
                    <a:pt x="8337" y="18036"/>
                    <a:pt x="4503" y="21866"/>
                    <a:pt x="1309" y="26335"/>
                  </a:cubicBezTo>
                  <a:cubicBezTo>
                    <a:pt x="-609" y="28889"/>
                    <a:pt x="-609" y="33357"/>
                    <a:pt x="2586" y="35273"/>
                  </a:cubicBezTo>
                  <a:cubicBezTo>
                    <a:pt x="3225" y="35911"/>
                    <a:pt x="5142" y="36549"/>
                    <a:pt x="5781" y="36549"/>
                  </a:cubicBezTo>
                  <a:lnTo>
                    <a:pt x="5781" y="36549"/>
                  </a:lnTo>
                  <a:close/>
                </a:path>
              </a:pathLst>
            </a:custGeom>
            <a:grpFill/>
            <a:ln w="6390" cap="flat">
              <a:noFill/>
              <a:prstDash val="solid"/>
              <a:miter/>
            </a:ln>
          </p:spPr>
          <p:txBody>
            <a:bodyPr rtlCol="0" anchor="ctr"/>
            <a:lstStyle/>
            <a:p>
              <a:endParaRPr lang="en-US"/>
            </a:p>
          </p:txBody>
        </p:sp>
        <p:sp>
          <p:nvSpPr>
            <p:cNvPr id="57" name="Graphic 4">
              <a:extLst>
                <a:ext uri="{FF2B5EF4-FFF2-40B4-BE49-F238E27FC236}">
                  <a16:creationId xmlns:a16="http://schemas.microsoft.com/office/drawing/2014/main" id="{12967892-EE26-8B45-89F5-018DD59C78EA}"/>
                </a:ext>
              </a:extLst>
            </p:cNvPr>
            <p:cNvSpPr/>
            <p:nvPr/>
          </p:nvSpPr>
          <p:spPr>
            <a:xfrm>
              <a:off x="5845677" y="1503451"/>
              <a:ext cx="71240" cy="27590"/>
            </a:xfrm>
            <a:custGeom>
              <a:avLst/>
              <a:gdLst>
                <a:gd name="connsiteX0" fmla="*/ 59902 w 71240"/>
                <a:gd name="connsiteY0" fmla="*/ 25036 h 27590"/>
                <a:gd name="connsiteX1" fmla="*/ 65014 w 71240"/>
                <a:gd name="connsiteY1" fmla="*/ 27590 h 27590"/>
                <a:gd name="connsiteX2" fmla="*/ 68848 w 71240"/>
                <a:gd name="connsiteY2" fmla="*/ 26313 h 27590"/>
                <a:gd name="connsiteX3" fmla="*/ 70126 w 71240"/>
                <a:gd name="connsiteY3" fmla="*/ 17376 h 27590"/>
                <a:gd name="connsiteX4" fmla="*/ 10061 w 71240"/>
                <a:gd name="connsiteY4" fmla="*/ 8438 h 27590"/>
                <a:gd name="connsiteX5" fmla="*/ 1115 w 71240"/>
                <a:gd name="connsiteY5" fmla="*/ 17376 h 27590"/>
                <a:gd name="connsiteX6" fmla="*/ 2393 w 71240"/>
                <a:gd name="connsiteY6" fmla="*/ 26313 h 27590"/>
                <a:gd name="connsiteX7" fmla="*/ 11338 w 71240"/>
                <a:gd name="connsiteY7" fmla="*/ 25036 h 27590"/>
                <a:gd name="connsiteX8" fmla="*/ 53512 w 71240"/>
                <a:gd name="connsiteY8" fmla="*/ 18652 h 27590"/>
                <a:gd name="connsiteX9" fmla="*/ 59902 w 71240"/>
                <a:gd name="connsiteY9" fmla="*/ 25036 h 27590"/>
                <a:gd name="connsiteX10" fmla="*/ 59902 w 71240"/>
                <a:gd name="connsiteY10" fmla="*/ 25036 h 2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240" h="27590">
                  <a:moveTo>
                    <a:pt x="59902" y="25036"/>
                  </a:moveTo>
                  <a:cubicBezTo>
                    <a:pt x="61180" y="26952"/>
                    <a:pt x="63097" y="27590"/>
                    <a:pt x="65014" y="27590"/>
                  </a:cubicBezTo>
                  <a:cubicBezTo>
                    <a:pt x="66292" y="27590"/>
                    <a:pt x="67570" y="26952"/>
                    <a:pt x="68848" y="26313"/>
                  </a:cubicBezTo>
                  <a:cubicBezTo>
                    <a:pt x="71404" y="24398"/>
                    <a:pt x="72043" y="20568"/>
                    <a:pt x="70126" y="17376"/>
                  </a:cubicBezTo>
                  <a:cubicBezTo>
                    <a:pt x="56068" y="-1776"/>
                    <a:pt x="29230" y="-5607"/>
                    <a:pt x="10061" y="8438"/>
                  </a:cubicBezTo>
                  <a:cubicBezTo>
                    <a:pt x="6226" y="10992"/>
                    <a:pt x="3671" y="14184"/>
                    <a:pt x="1115" y="17376"/>
                  </a:cubicBezTo>
                  <a:cubicBezTo>
                    <a:pt x="-802" y="19929"/>
                    <a:pt x="-163" y="24398"/>
                    <a:pt x="2393" y="26313"/>
                  </a:cubicBezTo>
                  <a:cubicBezTo>
                    <a:pt x="4948" y="28228"/>
                    <a:pt x="9421" y="27590"/>
                    <a:pt x="11338" y="25036"/>
                  </a:cubicBezTo>
                  <a:cubicBezTo>
                    <a:pt x="20923" y="11630"/>
                    <a:pt x="40093" y="8438"/>
                    <a:pt x="53512" y="18652"/>
                  </a:cubicBezTo>
                  <a:cubicBezTo>
                    <a:pt x="56068" y="20568"/>
                    <a:pt x="57985" y="22483"/>
                    <a:pt x="59902" y="25036"/>
                  </a:cubicBezTo>
                  <a:lnTo>
                    <a:pt x="59902" y="25036"/>
                  </a:lnTo>
                  <a:close/>
                </a:path>
              </a:pathLst>
            </a:custGeom>
            <a:grpFill/>
            <a:ln w="6390" cap="flat">
              <a:noFill/>
              <a:prstDash val="solid"/>
              <a:miter/>
            </a:ln>
          </p:spPr>
          <p:txBody>
            <a:bodyPr rtlCol="0" anchor="ctr"/>
            <a:lstStyle/>
            <a:p>
              <a:endParaRPr lang="en-US"/>
            </a:p>
          </p:txBody>
        </p:sp>
      </p:grpSp>
      <p:grpSp>
        <p:nvGrpSpPr>
          <p:cNvPr id="58" name="Graphic 4">
            <a:extLst>
              <a:ext uri="{FF2B5EF4-FFF2-40B4-BE49-F238E27FC236}">
                <a16:creationId xmlns:a16="http://schemas.microsoft.com/office/drawing/2014/main" id="{D1307AC7-7221-3741-8E42-EDFAE481EF72}"/>
              </a:ext>
            </a:extLst>
          </p:cNvPr>
          <p:cNvGrpSpPr/>
          <p:nvPr/>
        </p:nvGrpSpPr>
        <p:grpSpPr>
          <a:xfrm>
            <a:off x="3624519" y="2758190"/>
            <a:ext cx="671039" cy="670413"/>
            <a:chOff x="2560447" y="4793256"/>
            <a:chExt cx="362309" cy="361971"/>
          </a:xfrm>
          <a:solidFill>
            <a:schemeClr val="tx1"/>
          </a:solidFill>
        </p:grpSpPr>
        <p:sp>
          <p:nvSpPr>
            <p:cNvPr id="59" name="Graphic 4">
              <a:extLst>
                <a:ext uri="{FF2B5EF4-FFF2-40B4-BE49-F238E27FC236}">
                  <a16:creationId xmlns:a16="http://schemas.microsoft.com/office/drawing/2014/main" id="{CA7A3D7E-0366-0A4E-9C36-D006CF74965B}"/>
                </a:ext>
              </a:extLst>
            </p:cNvPr>
            <p:cNvSpPr/>
            <p:nvPr/>
          </p:nvSpPr>
          <p:spPr>
            <a:xfrm>
              <a:off x="2560447"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5 w 362309"/>
                <a:gd name="connsiteY9" fmla="*/ 12129 h 361971"/>
                <a:gd name="connsiteX10" fmla="*/ 349529 w 362309"/>
                <a:gd name="connsiteY10" fmla="*/ 180028 h 361971"/>
                <a:gd name="connsiteX11" fmla="*/ 349529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lnTo>
                    <a:pt x="181474" y="0"/>
                  </a:lnTo>
                  <a:close/>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49529" y="273234"/>
                    <a:pt x="274128" y="348565"/>
                    <a:pt x="181474" y="348565"/>
                  </a:cubicBez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BAEC2FB8-4F49-4547-8418-87E385FC3F00}"/>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5086F871-3EA2-F240-A2B2-AE289268AD0F}"/>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2244802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39538-4614-1C49-A7B2-2E05F76A4D12}"/>
              </a:ext>
            </a:extLst>
          </p:cNvPr>
          <p:cNvSpPr>
            <a:spLocks noGrp="1"/>
          </p:cNvSpPr>
          <p:nvPr>
            <p:ph type="title"/>
          </p:nvPr>
        </p:nvSpPr>
        <p:spPr>
          <a:xfrm>
            <a:off x="551688" y="1581632"/>
            <a:ext cx="4096512" cy="3276118"/>
          </a:xfrm>
        </p:spPr>
        <p:txBody>
          <a:bodyPr/>
          <a:lstStyle/>
          <a:p>
            <a:r>
              <a:rPr lang="en-US" b="1" dirty="0"/>
              <a:t>Thank You!</a:t>
            </a:r>
            <a:br>
              <a:rPr lang="en-US" dirty="0"/>
            </a:br>
            <a:br>
              <a:rPr lang="en-US" dirty="0"/>
            </a:br>
            <a:r>
              <a:rPr lang="en-US" dirty="0"/>
              <a:t>Any questions?</a:t>
            </a:r>
          </a:p>
        </p:txBody>
      </p:sp>
      <p:sp>
        <p:nvSpPr>
          <p:cNvPr id="3" name="TextBox 2">
            <a:extLst>
              <a:ext uri="{FF2B5EF4-FFF2-40B4-BE49-F238E27FC236}">
                <a16:creationId xmlns:a16="http://schemas.microsoft.com/office/drawing/2014/main" id="{2895B7A7-0615-4D33-A263-D5808D928AA1}"/>
              </a:ext>
            </a:extLst>
          </p:cNvPr>
          <p:cNvSpPr txBox="1"/>
          <p:nvPr/>
        </p:nvSpPr>
        <p:spPr>
          <a:xfrm>
            <a:off x="649996" y="5709308"/>
            <a:ext cx="8295701" cy="487313"/>
          </a:xfrm>
          <a:prstGeom prst="rect">
            <a:avLst/>
          </a:prstGeom>
          <a:noFill/>
        </p:spPr>
        <p:txBody>
          <a:bodyPr vert="horz" wrap="square" lIns="0" tIns="0" rIns="0" bIns="0" rtlCol="0">
            <a:spAutoFit/>
          </a:bodyPr>
          <a:lstStyle/>
          <a:p>
            <a:pPr>
              <a:spcBef>
                <a:spcPts val="200"/>
              </a:spcBef>
              <a:buSzPct val="100000"/>
            </a:pPr>
            <a:r>
              <a:rPr lang="en-US" dirty="0" err="1">
                <a:solidFill>
                  <a:schemeClr val="bg1"/>
                </a:solidFill>
              </a:rPr>
              <a:t>Dámaris</a:t>
            </a:r>
            <a:r>
              <a:rPr lang="en-US" dirty="0">
                <a:solidFill>
                  <a:schemeClr val="bg1"/>
                </a:solidFill>
              </a:rPr>
              <a:t> Flores Albores:  </a:t>
            </a:r>
            <a:r>
              <a:rPr lang="en-US" dirty="0">
                <a:solidFill>
                  <a:schemeClr val="bg1"/>
                </a:solidFill>
                <a:hlinkClick r:id="rId2">
                  <a:extLst>
                    <a:ext uri="{A12FA001-AC4F-418D-AE19-62706E023703}">
                      <ahyp:hlinkClr xmlns:ahyp="http://schemas.microsoft.com/office/drawing/2018/hyperlinkcolor" val="tx"/>
                    </a:ext>
                  </a:extLst>
                </a:hlinkClick>
              </a:rPr>
              <a:t>dfloresalbores@deloitte.com</a:t>
            </a:r>
            <a:r>
              <a:rPr lang="en-US" dirty="0">
                <a:solidFill>
                  <a:schemeClr val="bg1"/>
                </a:solidFill>
              </a:rPr>
              <a:t> </a:t>
            </a:r>
          </a:p>
          <a:p>
            <a:pPr>
              <a:spcBef>
                <a:spcPts val="200"/>
              </a:spcBef>
              <a:buSzPct val="100000"/>
            </a:pPr>
            <a:endParaRPr lang="en-US" sz="1200" dirty="0"/>
          </a:p>
        </p:txBody>
      </p:sp>
    </p:spTree>
    <p:extLst>
      <p:ext uri="{BB962C8B-B14F-4D97-AF65-F5344CB8AC3E}">
        <p14:creationId xmlns:p14="http://schemas.microsoft.com/office/powerpoint/2010/main" val="12015651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0DADA-3D72-424A-94A7-131D20A1CED9}"/>
              </a:ext>
            </a:extLst>
          </p:cNvPr>
          <p:cNvSpPr>
            <a:spLocks noGrp="1"/>
          </p:cNvSpPr>
          <p:nvPr>
            <p:ph type="title"/>
          </p:nvPr>
        </p:nvSpPr>
        <p:spPr/>
        <p:txBody>
          <a:bodyPr/>
          <a:lstStyle/>
          <a:p>
            <a:r>
              <a:rPr lang="en-US"/>
              <a:t>Agenda</a:t>
            </a:r>
          </a:p>
        </p:txBody>
      </p:sp>
      <p:sp>
        <p:nvSpPr>
          <p:cNvPr id="5" name="TextBox 4">
            <a:extLst>
              <a:ext uri="{FF2B5EF4-FFF2-40B4-BE49-F238E27FC236}">
                <a16:creationId xmlns:a16="http://schemas.microsoft.com/office/drawing/2014/main" id="{D89998E0-046A-F44E-A936-A2E492D816D4}"/>
              </a:ext>
            </a:extLst>
          </p:cNvPr>
          <p:cNvSpPr txBox="1"/>
          <p:nvPr/>
        </p:nvSpPr>
        <p:spPr>
          <a:xfrm>
            <a:off x="2431228" y="1305383"/>
            <a:ext cx="535724"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1</a:t>
            </a:r>
          </a:p>
        </p:txBody>
      </p:sp>
      <p:sp>
        <p:nvSpPr>
          <p:cNvPr id="6" name="TextBox 5">
            <a:extLst>
              <a:ext uri="{FF2B5EF4-FFF2-40B4-BE49-F238E27FC236}">
                <a16:creationId xmlns:a16="http://schemas.microsoft.com/office/drawing/2014/main" id="{4A3A706C-62AF-9745-A009-06F94566D6D7}"/>
              </a:ext>
            </a:extLst>
          </p:cNvPr>
          <p:cNvSpPr txBox="1"/>
          <p:nvPr/>
        </p:nvSpPr>
        <p:spPr>
          <a:xfrm>
            <a:off x="3322709" y="1555397"/>
            <a:ext cx="4169924"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Overview and Business Understanding</a:t>
            </a:r>
          </a:p>
        </p:txBody>
      </p:sp>
      <p:cxnSp>
        <p:nvCxnSpPr>
          <p:cNvPr id="7" name="Straight Connector 6">
            <a:extLst>
              <a:ext uri="{FF2B5EF4-FFF2-40B4-BE49-F238E27FC236}">
                <a16:creationId xmlns:a16="http://schemas.microsoft.com/office/drawing/2014/main" id="{4EC78DE7-D1D4-C54F-B592-65FF44DE9B74}"/>
              </a:ext>
            </a:extLst>
          </p:cNvPr>
          <p:cNvCxnSpPr/>
          <p:nvPr/>
        </p:nvCxnSpPr>
        <p:spPr>
          <a:xfrm>
            <a:off x="3092919" y="1397506"/>
            <a:ext cx="0" cy="646750"/>
          </a:xfrm>
          <a:prstGeom prst="line">
            <a:avLst/>
          </a:prstGeom>
          <a:ln w="63500">
            <a:solidFill>
              <a:srgbClr val="86BC2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BC4DA48-C27B-5B4A-A226-DDC9ABA91CB3}"/>
              </a:ext>
            </a:extLst>
          </p:cNvPr>
          <p:cNvSpPr txBox="1"/>
          <p:nvPr/>
        </p:nvSpPr>
        <p:spPr>
          <a:xfrm>
            <a:off x="2431228" y="2456339"/>
            <a:ext cx="543739"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2</a:t>
            </a:r>
          </a:p>
        </p:txBody>
      </p:sp>
      <p:sp>
        <p:nvSpPr>
          <p:cNvPr id="10" name="TextBox 9">
            <a:extLst>
              <a:ext uri="{FF2B5EF4-FFF2-40B4-BE49-F238E27FC236}">
                <a16:creationId xmlns:a16="http://schemas.microsoft.com/office/drawing/2014/main" id="{E18AE20D-0E0D-9847-85A3-D79F1795988E}"/>
              </a:ext>
            </a:extLst>
          </p:cNvPr>
          <p:cNvSpPr txBox="1"/>
          <p:nvPr/>
        </p:nvSpPr>
        <p:spPr>
          <a:xfrm>
            <a:off x="3322709" y="2706353"/>
            <a:ext cx="3611886"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Data Understanding and Analysis</a:t>
            </a:r>
          </a:p>
        </p:txBody>
      </p:sp>
      <p:cxnSp>
        <p:nvCxnSpPr>
          <p:cNvPr id="11" name="Straight Connector 10">
            <a:extLst>
              <a:ext uri="{FF2B5EF4-FFF2-40B4-BE49-F238E27FC236}">
                <a16:creationId xmlns:a16="http://schemas.microsoft.com/office/drawing/2014/main" id="{A149275B-5F82-4949-82CD-9047CA8645B1}"/>
              </a:ext>
            </a:extLst>
          </p:cNvPr>
          <p:cNvCxnSpPr/>
          <p:nvPr/>
        </p:nvCxnSpPr>
        <p:spPr>
          <a:xfrm>
            <a:off x="3092919" y="2548462"/>
            <a:ext cx="0" cy="646750"/>
          </a:xfrm>
          <a:prstGeom prst="line">
            <a:avLst/>
          </a:prstGeom>
          <a:ln w="63500">
            <a:solidFill>
              <a:srgbClr val="43B02A"/>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B8342D7-25EC-9741-B5CF-C1235FD355E0}"/>
              </a:ext>
            </a:extLst>
          </p:cNvPr>
          <p:cNvSpPr txBox="1"/>
          <p:nvPr/>
        </p:nvSpPr>
        <p:spPr>
          <a:xfrm>
            <a:off x="2431228" y="3607295"/>
            <a:ext cx="543739"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3</a:t>
            </a:r>
          </a:p>
        </p:txBody>
      </p:sp>
      <p:sp>
        <p:nvSpPr>
          <p:cNvPr id="14" name="TextBox 13">
            <a:extLst>
              <a:ext uri="{FF2B5EF4-FFF2-40B4-BE49-F238E27FC236}">
                <a16:creationId xmlns:a16="http://schemas.microsoft.com/office/drawing/2014/main" id="{BC52A068-73E2-134D-B964-530674C3CBF4}"/>
              </a:ext>
            </a:extLst>
          </p:cNvPr>
          <p:cNvSpPr txBox="1"/>
          <p:nvPr/>
        </p:nvSpPr>
        <p:spPr>
          <a:xfrm>
            <a:off x="3322709" y="3857309"/>
            <a:ext cx="2023311"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Recommendation</a:t>
            </a:r>
          </a:p>
        </p:txBody>
      </p:sp>
      <p:cxnSp>
        <p:nvCxnSpPr>
          <p:cNvPr id="15" name="Straight Connector 14">
            <a:extLst>
              <a:ext uri="{FF2B5EF4-FFF2-40B4-BE49-F238E27FC236}">
                <a16:creationId xmlns:a16="http://schemas.microsoft.com/office/drawing/2014/main" id="{1FD5B4CB-88EE-1D49-AE99-6A019C5B7600}"/>
              </a:ext>
            </a:extLst>
          </p:cNvPr>
          <p:cNvCxnSpPr/>
          <p:nvPr/>
        </p:nvCxnSpPr>
        <p:spPr>
          <a:xfrm>
            <a:off x="3092919" y="3699418"/>
            <a:ext cx="0" cy="646750"/>
          </a:xfrm>
          <a:prstGeom prst="line">
            <a:avLst/>
          </a:prstGeom>
          <a:ln w="63500">
            <a:solidFill>
              <a:srgbClr val="009A44"/>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10E5895-8DF4-9745-B862-7534E8D5A29E}"/>
              </a:ext>
            </a:extLst>
          </p:cNvPr>
          <p:cNvSpPr txBox="1"/>
          <p:nvPr/>
        </p:nvSpPr>
        <p:spPr>
          <a:xfrm>
            <a:off x="2431228" y="4758251"/>
            <a:ext cx="535724"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4</a:t>
            </a:r>
          </a:p>
        </p:txBody>
      </p:sp>
      <p:sp>
        <p:nvSpPr>
          <p:cNvPr id="18" name="TextBox 17">
            <a:extLst>
              <a:ext uri="{FF2B5EF4-FFF2-40B4-BE49-F238E27FC236}">
                <a16:creationId xmlns:a16="http://schemas.microsoft.com/office/drawing/2014/main" id="{2FE268EB-4EEB-F845-BB46-49DC77FBBD86}"/>
              </a:ext>
            </a:extLst>
          </p:cNvPr>
          <p:cNvSpPr txBox="1"/>
          <p:nvPr/>
        </p:nvSpPr>
        <p:spPr>
          <a:xfrm>
            <a:off x="3322709" y="5008265"/>
            <a:ext cx="1298945"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Next Steps</a:t>
            </a:r>
          </a:p>
        </p:txBody>
      </p:sp>
      <p:cxnSp>
        <p:nvCxnSpPr>
          <p:cNvPr id="19" name="Straight Connector 18">
            <a:extLst>
              <a:ext uri="{FF2B5EF4-FFF2-40B4-BE49-F238E27FC236}">
                <a16:creationId xmlns:a16="http://schemas.microsoft.com/office/drawing/2014/main" id="{12A778C6-20F9-EA48-A2A0-E11BEBCC71B5}"/>
              </a:ext>
            </a:extLst>
          </p:cNvPr>
          <p:cNvCxnSpPr/>
          <p:nvPr/>
        </p:nvCxnSpPr>
        <p:spPr>
          <a:xfrm>
            <a:off x="3092919" y="4850374"/>
            <a:ext cx="0" cy="646750"/>
          </a:xfrm>
          <a:prstGeom prst="line">
            <a:avLst/>
          </a:prstGeom>
          <a:ln w="63500">
            <a:solidFill>
              <a:srgbClr val="046A3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1211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36A2-1C98-9C4C-B0F7-8444940228A1}"/>
              </a:ext>
            </a:extLst>
          </p:cNvPr>
          <p:cNvSpPr>
            <a:spLocks noGrp="1"/>
          </p:cNvSpPr>
          <p:nvPr>
            <p:ph type="title"/>
          </p:nvPr>
        </p:nvSpPr>
        <p:spPr>
          <a:xfrm>
            <a:off x="551687" y="1581632"/>
            <a:ext cx="4205247" cy="3276118"/>
          </a:xfrm>
        </p:spPr>
        <p:txBody>
          <a:bodyPr/>
          <a:lstStyle/>
          <a:p>
            <a:r>
              <a:rPr lang="en-US" dirty="0"/>
              <a:t>Overview &amp; Business Understanding</a:t>
            </a:r>
          </a:p>
        </p:txBody>
      </p:sp>
    </p:spTree>
    <p:extLst>
      <p:ext uri="{BB962C8B-B14F-4D97-AF65-F5344CB8AC3E}">
        <p14:creationId xmlns:p14="http://schemas.microsoft.com/office/powerpoint/2010/main" val="21652314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6" imgW="395" imgH="396" progId="TCLayout.ActiveDocument.1">
                  <p:embed/>
                </p:oleObj>
              </mc:Choice>
              <mc:Fallback>
                <p:oleObj name="think-cell Slide" r:id="rId6"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cxnSp>
        <p:nvCxnSpPr>
          <p:cNvPr id="3" name="Straight Connector 2">
            <a:extLst>
              <a:ext uri="{FF2B5EF4-FFF2-40B4-BE49-F238E27FC236}">
                <a16:creationId xmlns:a16="http://schemas.microsoft.com/office/drawing/2014/main" id="{1FC6EBB2-2F0D-4E1F-8FFF-E3A26611CF9E}"/>
              </a:ext>
            </a:extLst>
          </p:cNvPr>
          <p:cNvCxnSpPr>
            <a:cxnSpLocks/>
          </p:cNvCxnSpPr>
          <p:nvPr/>
        </p:nvCxnSpPr>
        <p:spPr>
          <a:xfrm flipH="1">
            <a:off x="3588255" y="3247463"/>
            <a:ext cx="2989008" cy="0"/>
          </a:xfrm>
          <a:prstGeom prst="line">
            <a:avLst/>
          </a:prstGeom>
          <a:ln w="76200">
            <a:solidFill>
              <a:srgbClr val="00ABAB"/>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2F38552-4CA0-45C9-887D-F3ABFA5913C9}"/>
              </a:ext>
            </a:extLst>
          </p:cNvPr>
          <p:cNvCxnSpPr>
            <a:cxnSpLocks/>
          </p:cNvCxnSpPr>
          <p:nvPr/>
        </p:nvCxnSpPr>
        <p:spPr>
          <a:xfrm flipH="1">
            <a:off x="7344579" y="4097976"/>
            <a:ext cx="969648" cy="0"/>
          </a:xfrm>
          <a:prstGeom prst="line">
            <a:avLst/>
          </a:prstGeom>
          <a:ln w="76200">
            <a:solidFill>
              <a:srgbClr val="00ABAB"/>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0DC6721C-3B7E-4A49-B884-706E695E23B5}"/>
              </a:ext>
            </a:extLst>
          </p:cNvPr>
          <p:cNvSpPr txBox="1">
            <a:spLocks/>
          </p:cNvSpPr>
          <p:nvPr/>
        </p:nvSpPr>
        <p:spPr>
          <a:xfrm>
            <a:off x="3529807" y="2547910"/>
            <a:ext cx="5132386" cy="802975"/>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dirty="0"/>
              <a:t>Computer Vision wants to create original video content in their newly formed movie studio.  </a:t>
            </a:r>
          </a:p>
          <a:p>
            <a:pPr marL="0" indent="0" algn="ctr">
              <a:buNone/>
            </a:pPr>
            <a:r>
              <a:rPr lang="en-US" sz="2400" dirty="0"/>
              <a:t>What type of films would be best?  </a:t>
            </a:r>
            <a:endParaRPr lang="en-US" dirty="0"/>
          </a:p>
        </p:txBody>
      </p:sp>
      <p:cxnSp>
        <p:nvCxnSpPr>
          <p:cNvPr id="8" name="Straight Connector 7">
            <a:extLst>
              <a:ext uri="{FF2B5EF4-FFF2-40B4-BE49-F238E27FC236}">
                <a16:creationId xmlns:a16="http://schemas.microsoft.com/office/drawing/2014/main" id="{76F5FBB8-6335-43BF-B698-28C9AE339D91}"/>
              </a:ext>
            </a:extLst>
          </p:cNvPr>
          <p:cNvCxnSpPr>
            <a:cxnSpLocks/>
          </p:cNvCxnSpPr>
          <p:nvPr/>
        </p:nvCxnSpPr>
        <p:spPr>
          <a:xfrm flipH="1">
            <a:off x="3090672" y="3568932"/>
            <a:ext cx="74066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AE3899-8250-4424-B739-4974302C6104}"/>
              </a:ext>
            </a:extLst>
          </p:cNvPr>
          <p:cNvCxnSpPr>
            <a:cxnSpLocks/>
          </p:cNvCxnSpPr>
          <p:nvPr/>
        </p:nvCxnSpPr>
        <p:spPr>
          <a:xfrm flipV="1">
            <a:off x="6577263" y="1085184"/>
            <a:ext cx="0" cy="134149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E268CE6-8852-400D-80CC-B43CE49EBF13}"/>
              </a:ext>
            </a:extLst>
          </p:cNvPr>
          <p:cNvCxnSpPr>
            <a:cxnSpLocks/>
          </p:cNvCxnSpPr>
          <p:nvPr/>
        </p:nvCxnSpPr>
        <p:spPr>
          <a:xfrm>
            <a:off x="8537331" y="3080082"/>
            <a:ext cx="615813"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E0707BA-B885-45C3-8B57-71C316936773}"/>
              </a:ext>
            </a:extLst>
          </p:cNvPr>
          <p:cNvCxnSpPr>
            <a:cxnSpLocks/>
          </p:cNvCxnSpPr>
          <p:nvPr/>
        </p:nvCxnSpPr>
        <p:spPr>
          <a:xfrm>
            <a:off x="5662863" y="4343400"/>
            <a:ext cx="0" cy="1517904"/>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E6B7BA1-4A10-4A95-928B-2C832527DDBF}"/>
              </a:ext>
            </a:extLst>
          </p:cNvPr>
          <p:cNvSpPr txBox="1"/>
          <p:nvPr/>
        </p:nvSpPr>
        <p:spPr>
          <a:xfrm>
            <a:off x="6721642" y="1034733"/>
            <a:ext cx="3529263" cy="43088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lang="en-US" sz="1100" dirty="0">
                <a:solidFill>
                  <a:srgbClr val="000000"/>
                </a:solidFill>
              </a:rPr>
              <a:t>Evaluate business needs</a:t>
            </a:r>
          </a:p>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Determine our</a:t>
            </a:r>
            <a:r>
              <a:rPr lang="en-US" sz="1100" dirty="0">
                <a:solidFill>
                  <a:srgbClr val="000000"/>
                </a:solidFill>
              </a:rPr>
              <a:t> key questions</a:t>
            </a: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13" name="TextBox 12">
            <a:extLst>
              <a:ext uri="{FF2B5EF4-FFF2-40B4-BE49-F238E27FC236}">
                <a16:creationId xmlns:a16="http://schemas.microsoft.com/office/drawing/2014/main" id="{C5AB0F84-EC86-4C31-9C5B-5ED4E653EDD8}"/>
              </a:ext>
            </a:extLst>
          </p:cNvPr>
          <p:cNvSpPr txBox="1"/>
          <p:nvPr/>
        </p:nvSpPr>
        <p:spPr>
          <a:xfrm>
            <a:off x="5775157" y="5174258"/>
            <a:ext cx="3529263" cy="43088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lang="en-US" sz="1100" dirty="0">
                <a:solidFill>
                  <a:srgbClr val="000000"/>
                </a:solidFill>
              </a:rPr>
              <a:t>Statistic Analysis</a:t>
            </a:r>
          </a:p>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Data Visualizations</a:t>
            </a:r>
          </a:p>
        </p:txBody>
      </p:sp>
      <p:sp>
        <p:nvSpPr>
          <p:cNvPr id="14" name="TextBox 13">
            <a:extLst>
              <a:ext uri="{FF2B5EF4-FFF2-40B4-BE49-F238E27FC236}">
                <a16:creationId xmlns:a16="http://schemas.microsoft.com/office/drawing/2014/main" id="{F709AAEC-F540-4C21-A1BF-3E0B48EABABE}"/>
              </a:ext>
            </a:extLst>
          </p:cNvPr>
          <p:cNvSpPr txBox="1"/>
          <p:nvPr/>
        </p:nvSpPr>
        <p:spPr>
          <a:xfrm>
            <a:off x="9234559" y="2685771"/>
            <a:ext cx="2597777" cy="61555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Conduct data exploration</a:t>
            </a:r>
            <a:endParaRPr lang="en-US" sz="1100" dirty="0">
              <a:solidFill>
                <a:srgbClr val="000000"/>
              </a:solidFill>
            </a:endParaRPr>
          </a:p>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lang="en-US" sz="1100" dirty="0">
                <a:solidFill>
                  <a:srgbClr val="000000"/>
                </a:solidFill>
              </a:rPr>
              <a:t>Data cleaning </a:t>
            </a:r>
            <a:endParaRPr kumimoji="0" lang="en-US" sz="1100" b="0" i="0" u="none" strike="noStrike" kern="1200" cap="none" spc="0" normalizeH="0" baseline="0" noProof="0" dirty="0">
              <a:ln>
                <a:noFill/>
              </a:ln>
              <a:solidFill>
                <a:srgbClr val="000000"/>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5" name="TextBox 14">
            <a:extLst>
              <a:ext uri="{FF2B5EF4-FFF2-40B4-BE49-F238E27FC236}">
                <a16:creationId xmlns:a16="http://schemas.microsoft.com/office/drawing/2014/main" id="{295C2152-7316-4669-BD1C-933312F5E804}"/>
              </a:ext>
            </a:extLst>
          </p:cNvPr>
          <p:cNvSpPr txBox="1"/>
          <p:nvPr/>
        </p:nvSpPr>
        <p:spPr>
          <a:xfrm>
            <a:off x="618114" y="3146655"/>
            <a:ext cx="2722814" cy="6001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Useful Insights </a:t>
            </a:r>
            <a:endParaRPr lang="en-US" sz="1100" dirty="0">
              <a:solidFill>
                <a:srgbClr val="000000"/>
              </a:solidFill>
            </a:endParaRPr>
          </a:p>
          <a:p>
            <a:pPr marL="285750" marR="0" lvl="0" indent="-285750" algn="l" defTabSz="914400" rtl="0" eaLnBrk="1" fontAlgn="auto" latinLnBrk="0" hangingPunct="1">
              <a:lnSpc>
                <a:spcPct val="100000"/>
              </a:lnSpc>
              <a:spcBef>
                <a:spcPts val="0"/>
              </a:spcBef>
              <a:spcAft>
                <a:spcPts val="0"/>
              </a:spcAft>
              <a:buClr>
                <a:srgbClr val="43B02A"/>
              </a:buClr>
              <a:buSzTx/>
              <a:buFont typeface="Open Sans" panose="020B0606030504020204" pitchFamily="34" charset="0"/>
              <a:buChar char="+"/>
              <a:tabLst/>
              <a:defRPr/>
            </a:pPr>
            <a:r>
              <a:rPr kumimoji="0" lang="en-US" sz="1100" b="0" i="0" u="none" strike="noStrike" kern="1200" cap="none" spc="0" normalizeH="0" baseline="0" noProof="0" dirty="0">
                <a:ln>
                  <a:noFill/>
                </a:ln>
                <a:solidFill>
                  <a:srgbClr val="000000"/>
                </a:solidFill>
                <a:effectLst/>
                <a:uLnTx/>
                <a:uFillTx/>
                <a:ea typeface="+mn-ea"/>
                <a:cs typeface="+mn-cs"/>
              </a:rPr>
              <a:t>Create data driven recommendations</a:t>
            </a:r>
          </a:p>
        </p:txBody>
      </p:sp>
      <p:sp>
        <p:nvSpPr>
          <p:cNvPr id="20" name="Title 19">
            <a:extLst>
              <a:ext uri="{FF2B5EF4-FFF2-40B4-BE49-F238E27FC236}">
                <a16:creationId xmlns:a16="http://schemas.microsoft.com/office/drawing/2014/main" id="{FD5F8340-FE75-4B84-9CBD-A9A4B266CA4F}"/>
              </a:ext>
            </a:extLst>
          </p:cNvPr>
          <p:cNvSpPr>
            <a:spLocks noGrp="1"/>
          </p:cNvSpPr>
          <p:nvPr>
            <p:ph type="title"/>
          </p:nvPr>
        </p:nvSpPr>
        <p:spPr/>
        <p:txBody>
          <a:bodyPr/>
          <a:lstStyle/>
          <a:p>
            <a:r>
              <a:rPr lang="en-US" dirty="0"/>
              <a:t>Overview</a:t>
            </a:r>
          </a:p>
        </p:txBody>
      </p:sp>
      <p:sp>
        <p:nvSpPr>
          <p:cNvPr id="25" name="Text Placeholder 24">
            <a:extLst>
              <a:ext uri="{FF2B5EF4-FFF2-40B4-BE49-F238E27FC236}">
                <a16:creationId xmlns:a16="http://schemas.microsoft.com/office/drawing/2014/main" id="{731CE34C-B331-AC49-86FC-E2BF24D9DB89}"/>
              </a:ext>
            </a:extLst>
          </p:cNvPr>
          <p:cNvSpPr>
            <a:spLocks noGrp="1"/>
          </p:cNvSpPr>
          <p:nvPr>
            <p:ph type="body" sz="quarter" idx="15"/>
          </p:nvPr>
        </p:nvSpPr>
        <p:spPr/>
        <p:txBody>
          <a:bodyPr/>
          <a:lstStyle/>
          <a:p>
            <a:r>
              <a:rPr lang="en-US" dirty="0"/>
              <a:t>Computer vision proposal</a:t>
            </a:r>
          </a:p>
          <a:p>
            <a:endParaRPr lang="en-US" dirty="0"/>
          </a:p>
        </p:txBody>
      </p:sp>
      <p:pic>
        <p:nvPicPr>
          <p:cNvPr id="28" name="Graphic 27" descr="Badge 1 with solid fill">
            <a:extLst>
              <a:ext uri="{FF2B5EF4-FFF2-40B4-BE49-F238E27FC236}">
                <a16:creationId xmlns:a16="http://schemas.microsoft.com/office/drawing/2014/main" id="{725F5DC8-3529-4C98-A181-E3B4F05254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6641" y="943252"/>
            <a:ext cx="612143" cy="612143"/>
          </a:xfrm>
          <a:prstGeom prst="rect">
            <a:avLst/>
          </a:prstGeom>
        </p:spPr>
      </p:pic>
      <p:pic>
        <p:nvPicPr>
          <p:cNvPr id="41" name="Graphic 40" descr="Badge with solid fill">
            <a:extLst>
              <a:ext uri="{FF2B5EF4-FFF2-40B4-BE49-F238E27FC236}">
                <a16:creationId xmlns:a16="http://schemas.microsoft.com/office/drawing/2014/main" id="{1E85B4D7-F35E-4F23-845F-DF98B84A6A1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04420" y="2008734"/>
            <a:ext cx="615553" cy="615553"/>
          </a:xfrm>
          <a:prstGeom prst="rect">
            <a:avLst/>
          </a:prstGeom>
        </p:spPr>
      </p:pic>
      <p:pic>
        <p:nvPicPr>
          <p:cNvPr id="43" name="Graphic 42" descr="Badge 3 with solid fill">
            <a:extLst>
              <a:ext uri="{FF2B5EF4-FFF2-40B4-BE49-F238E27FC236}">
                <a16:creationId xmlns:a16="http://schemas.microsoft.com/office/drawing/2014/main" id="{D7A74ADE-EF8E-48BF-956B-1E212FD3144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26198" y="5102352"/>
            <a:ext cx="624372" cy="624372"/>
          </a:xfrm>
          <a:prstGeom prst="rect">
            <a:avLst/>
          </a:prstGeom>
        </p:spPr>
      </p:pic>
      <p:pic>
        <p:nvPicPr>
          <p:cNvPr id="45" name="Graphic 44" descr="Badge 4 with solid fill">
            <a:extLst>
              <a:ext uri="{FF2B5EF4-FFF2-40B4-BE49-F238E27FC236}">
                <a16:creationId xmlns:a16="http://schemas.microsoft.com/office/drawing/2014/main" id="{06B98AB9-88B7-48DE-88CF-ABB659223B8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22923" y="2426596"/>
            <a:ext cx="615552" cy="615552"/>
          </a:xfrm>
          <a:prstGeom prst="rect">
            <a:avLst/>
          </a:prstGeom>
        </p:spPr>
      </p:pic>
    </p:spTree>
    <p:extLst>
      <p:ext uri="{BB962C8B-B14F-4D97-AF65-F5344CB8AC3E}">
        <p14:creationId xmlns:p14="http://schemas.microsoft.com/office/powerpoint/2010/main" val="21198054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237033" y="-275252"/>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980017" y="2852801"/>
            <a:ext cx="10102850" cy="1522093"/>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4000" b="1" dirty="0">
                <a:solidFill>
                  <a:srgbClr val="000000"/>
                </a:solidFill>
                <a:latin typeface="+mn-lt"/>
                <a:ea typeface="Calibri" charset="0"/>
                <a:cs typeface="Calibri" charset="0"/>
              </a:rPr>
              <a:t>As a        new movie        ,  what are the business needs?</a:t>
            </a:r>
          </a:p>
        </p:txBody>
      </p:sp>
      <p:sp>
        <p:nvSpPr>
          <p:cNvPr id="4" name="Rectangle 3">
            <a:extLst>
              <a:ext uri="{FF2B5EF4-FFF2-40B4-BE49-F238E27FC236}">
                <a16:creationId xmlns:a16="http://schemas.microsoft.com/office/drawing/2014/main" id="{C6A573E1-650B-431B-828E-7E9C6C3B81D2}"/>
              </a:ext>
            </a:extLst>
          </p:cNvPr>
          <p:cNvSpPr/>
          <p:nvPr/>
        </p:nvSpPr>
        <p:spPr>
          <a:xfrm>
            <a:off x="2828483" y="2907034"/>
            <a:ext cx="4087639" cy="541893"/>
          </a:xfrm>
          <a:prstGeom prst="rect">
            <a:avLst/>
          </a:prstGeom>
          <a:solidFill>
            <a:schemeClr val="bg1"/>
          </a:solidFill>
          <a:ln w="6096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300" normalizeH="0" baseline="0" noProof="0" dirty="0">
                <a:ln>
                  <a:noFill/>
                </a:ln>
                <a:solidFill>
                  <a:srgbClr val="000000"/>
                </a:solidFill>
                <a:effectLst/>
                <a:uLnTx/>
                <a:uFillTx/>
                <a:latin typeface="Open Sans"/>
                <a:ea typeface="+mn-ea"/>
                <a:cs typeface="+mn-cs"/>
              </a:rPr>
              <a:t>NEW MOVIE STUDIO</a:t>
            </a:r>
          </a:p>
        </p:txBody>
      </p:sp>
    </p:spTree>
    <p:extLst>
      <p:ext uri="{BB962C8B-B14F-4D97-AF65-F5344CB8AC3E}">
        <p14:creationId xmlns:p14="http://schemas.microsoft.com/office/powerpoint/2010/main" val="41649415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7"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0" y="-305732"/>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1205780" y="2892927"/>
            <a:ext cx="10102850" cy="3674052"/>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4000" b="1" dirty="0">
                <a:solidFill>
                  <a:srgbClr val="000000"/>
                </a:solidFill>
                <a:latin typeface="+mn-lt"/>
                <a:ea typeface="Calibri" charset="0"/>
                <a:cs typeface="Calibri" charset="0"/>
              </a:rPr>
              <a:t>What does a  successful   movie means?</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a:noFill/>
              </a:ln>
              <a:solidFill>
                <a:srgbClr val="000000"/>
              </a:solidFill>
              <a:effectLst/>
              <a:uLnTx/>
              <a:uFillTx/>
              <a:latin typeface="+mn-lt"/>
              <a:ea typeface="Calibri" charset="0"/>
              <a:cs typeface="Calibri" charset="0"/>
            </a:endParaRPr>
          </a:p>
        </p:txBody>
      </p:sp>
      <p:sp>
        <p:nvSpPr>
          <p:cNvPr id="3" name="Rectangle 2">
            <a:extLst>
              <a:ext uri="{FF2B5EF4-FFF2-40B4-BE49-F238E27FC236}">
                <a16:creationId xmlns:a16="http://schemas.microsoft.com/office/drawing/2014/main" id="{A1A9B9EB-06F0-49CA-936B-ED7D12BF5170}"/>
              </a:ext>
            </a:extLst>
          </p:cNvPr>
          <p:cNvSpPr/>
          <p:nvPr/>
        </p:nvSpPr>
        <p:spPr>
          <a:xfrm>
            <a:off x="4635819" y="2970690"/>
            <a:ext cx="2624389" cy="577882"/>
          </a:xfrm>
          <a:prstGeom prst="rect">
            <a:avLst/>
          </a:prstGeom>
          <a:solidFill>
            <a:schemeClr val="bg1"/>
          </a:solidFill>
          <a:ln w="6096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300" normalizeH="0" baseline="0" noProof="0" dirty="0">
                <a:ln>
                  <a:noFill/>
                </a:ln>
                <a:solidFill>
                  <a:srgbClr val="000000"/>
                </a:solidFill>
                <a:effectLst/>
                <a:uLnTx/>
                <a:uFillTx/>
                <a:latin typeface="Open Sans"/>
                <a:ea typeface="+mn-ea"/>
                <a:cs typeface="+mn-cs"/>
              </a:rPr>
              <a:t>SUCCESSFUL</a:t>
            </a:r>
          </a:p>
        </p:txBody>
      </p:sp>
    </p:spTree>
    <p:extLst>
      <p:ext uri="{BB962C8B-B14F-4D97-AF65-F5344CB8AC3E}">
        <p14:creationId xmlns:p14="http://schemas.microsoft.com/office/powerpoint/2010/main" val="345687311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1"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0" y="-275252"/>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1462916" y="2865954"/>
            <a:ext cx="10102850" cy="3674052"/>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4000" b="1" dirty="0">
                <a:solidFill>
                  <a:srgbClr val="000000"/>
                </a:solidFill>
                <a:latin typeface="+mn-lt"/>
                <a:ea typeface="Calibri" charset="0"/>
                <a:cs typeface="Calibri" charset="0"/>
              </a:rPr>
              <a:t>How much should be spend for a higher return of </a:t>
            </a:r>
            <a:r>
              <a:rPr lang="en-US" sz="4000" b="1" dirty="0" err="1">
                <a:solidFill>
                  <a:srgbClr val="000000"/>
                </a:solidFill>
                <a:latin typeface="+mn-lt"/>
                <a:ea typeface="Calibri" charset="0"/>
                <a:cs typeface="Calibri" charset="0"/>
              </a:rPr>
              <a:t>investm</a:t>
            </a:r>
            <a:r>
              <a:rPr lang="en-US" sz="4000" b="1" dirty="0">
                <a:solidFill>
                  <a:srgbClr val="000000"/>
                </a:solidFill>
                <a:latin typeface="+mn-lt"/>
                <a:ea typeface="Calibri" charset="0"/>
                <a:cs typeface="Calibri" charset="0"/>
              </a:rPr>
              <a:t>  ?              </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0" normalizeH="0" baseline="0" noProof="0" dirty="0">
              <a:ln>
                <a:noFill/>
              </a:ln>
              <a:solidFill>
                <a:srgbClr val="000000"/>
              </a:solidFill>
              <a:effectLst/>
              <a:uLnTx/>
              <a:uFillTx/>
              <a:latin typeface="+mn-lt"/>
              <a:ea typeface="Calibri" charset="0"/>
              <a:cs typeface="Calibri" charset="0"/>
            </a:endParaRPr>
          </a:p>
        </p:txBody>
      </p:sp>
      <p:sp>
        <p:nvSpPr>
          <p:cNvPr id="5" name="Rectangle 4">
            <a:extLst>
              <a:ext uri="{FF2B5EF4-FFF2-40B4-BE49-F238E27FC236}">
                <a16:creationId xmlns:a16="http://schemas.microsoft.com/office/drawing/2014/main" id="{A19036D3-3996-4C93-900E-11A566D9C934}"/>
              </a:ext>
            </a:extLst>
          </p:cNvPr>
          <p:cNvSpPr/>
          <p:nvPr/>
        </p:nvSpPr>
        <p:spPr>
          <a:xfrm>
            <a:off x="3391195" y="3560248"/>
            <a:ext cx="5055925" cy="624003"/>
          </a:xfrm>
          <a:prstGeom prst="rect">
            <a:avLst/>
          </a:prstGeom>
          <a:solidFill>
            <a:schemeClr val="bg1"/>
          </a:solidFill>
          <a:ln w="6096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600" b="1" spc="300" dirty="0">
                <a:solidFill>
                  <a:srgbClr val="000000"/>
                </a:solidFill>
                <a:latin typeface="Open Sans"/>
              </a:rPr>
              <a:t>RETURN OF INVESTMENT</a:t>
            </a:r>
            <a:endParaRPr kumimoji="0" lang="en-US" sz="2600" b="1" i="0" u="none" strike="noStrike" kern="1200" cap="none" spc="30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15844904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39538-4614-1C49-A7B2-2E05F76A4D12}"/>
              </a:ext>
            </a:extLst>
          </p:cNvPr>
          <p:cNvSpPr>
            <a:spLocks noGrp="1"/>
          </p:cNvSpPr>
          <p:nvPr>
            <p:ph type="title"/>
          </p:nvPr>
        </p:nvSpPr>
        <p:spPr>
          <a:xfrm>
            <a:off x="551688" y="1581632"/>
            <a:ext cx="4096512" cy="3276118"/>
          </a:xfrm>
        </p:spPr>
        <p:txBody>
          <a:bodyPr/>
          <a:lstStyle/>
          <a:p>
            <a:r>
              <a:rPr lang="en-US" dirty="0"/>
              <a:t>Data Understanding &amp; Analysis</a:t>
            </a:r>
          </a:p>
        </p:txBody>
      </p:sp>
    </p:spTree>
    <p:extLst>
      <p:ext uri="{BB962C8B-B14F-4D97-AF65-F5344CB8AC3E}">
        <p14:creationId xmlns:p14="http://schemas.microsoft.com/office/powerpoint/2010/main" val="33011936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55">
            <a:extLst>
              <a:ext uri="{FF2B5EF4-FFF2-40B4-BE49-F238E27FC236}">
                <a16:creationId xmlns:a16="http://schemas.microsoft.com/office/drawing/2014/main" id="{849915A6-81AB-44DC-995E-A9F603F94075}"/>
              </a:ext>
            </a:extLst>
          </p:cNvPr>
          <p:cNvSpPr>
            <a:spLocks/>
          </p:cNvSpPr>
          <p:nvPr/>
        </p:nvSpPr>
        <p:spPr bwMode="auto">
          <a:xfrm>
            <a:off x="0" y="2427665"/>
            <a:ext cx="12191999" cy="915142"/>
          </a:xfrm>
          <a:custGeom>
            <a:avLst/>
            <a:gdLst>
              <a:gd name="T0" fmla="*/ 78 w 12526"/>
              <a:gd name="T1" fmla="*/ 1088 h 1212"/>
              <a:gd name="T2" fmla="*/ 223 w 12526"/>
              <a:gd name="T3" fmla="*/ 1065 h 1212"/>
              <a:gd name="T4" fmla="*/ 357 w 12526"/>
              <a:gd name="T5" fmla="*/ 1019 h 1212"/>
              <a:gd name="T6" fmla="*/ 481 w 12526"/>
              <a:gd name="T7" fmla="*/ 957 h 1212"/>
              <a:gd name="T8" fmla="*/ 601 w 12526"/>
              <a:gd name="T9" fmla="*/ 881 h 1212"/>
              <a:gd name="T10" fmla="*/ 903 w 12526"/>
              <a:gd name="T11" fmla="*/ 647 h 1212"/>
              <a:gd name="T12" fmla="*/ 1138 w 12526"/>
              <a:gd name="T13" fmla="*/ 469 h 1212"/>
              <a:gd name="T14" fmla="*/ 1291 w 12526"/>
              <a:gd name="T15" fmla="*/ 369 h 1212"/>
              <a:gd name="T16" fmla="*/ 1460 w 12526"/>
              <a:gd name="T17" fmla="*/ 275 h 1212"/>
              <a:gd name="T18" fmla="*/ 1649 w 12526"/>
              <a:gd name="T19" fmla="*/ 190 h 1212"/>
              <a:gd name="T20" fmla="*/ 1863 w 12526"/>
              <a:gd name="T21" fmla="*/ 116 h 1212"/>
              <a:gd name="T22" fmla="*/ 2105 w 12526"/>
              <a:gd name="T23" fmla="*/ 58 h 1212"/>
              <a:gd name="T24" fmla="*/ 2378 w 12526"/>
              <a:gd name="T25" fmla="*/ 19 h 1212"/>
              <a:gd name="T26" fmla="*/ 2684 w 12526"/>
              <a:gd name="T27" fmla="*/ 0 h 1212"/>
              <a:gd name="T28" fmla="*/ 2930 w 12526"/>
              <a:gd name="T29" fmla="*/ 3 h 1212"/>
              <a:gd name="T30" fmla="*/ 3227 w 12526"/>
              <a:gd name="T31" fmla="*/ 29 h 1212"/>
              <a:gd name="T32" fmla="*/ 3488 w 12526"/>
              <a:gd name="T33" fmla="*/ 79 h 1212"/>
              <a:gd name="T34" fmla="*/ 3720 w 12526"/>
              <a:gd name="T35" fmla="*/ 148 h 1212"/>
              <a:gd name="T36" fmla="*/ 3928 w 12526"/>
              <a:gd name="T37" fmla="*/ 233 h 1212"/>
              <a:gd name="T38" fmla="*/ 4117 w 12526"/>
              <a:gd name="T39" fmla="*/ 331 h 1212"/>
              <a:gd name="T40" fmla="*/ 4293 w 12526"/>
              <a:gd name="T41" fmla="*/ 437 h 1212"/>
              <a:gd name="T42" fmla="*/ 4623 w 12526"/>
              <a:gd name="T43" fmla="*/ 663 h 1212"/>
              <a:gd name="T44" fmla="*/ 4872 w 12526"/>
              <a:gd name="T45" fmla="*/ 828 h 1212"/>
              <a:gd name="T46" fmla="*/ 5050 w 12526"/>
              <a:gd name="T47" fmla="*/ 932 h 1212"/>
              <a:gd name="T48" fmla="*/ 5243 w 12526"/>
              <a:gd name="T49" fmla="*/ 1023 h 1212"/>
              <a:gd name="T50" fmla="*/ 5455 w 12526"/>
              <a:gd name="T51" fmla="*/ 1100 h 1212"/>
              <a:gd name="T52" fmla="*/ 5692 w 12526"/>
              <a:gd name="T53" fmla="*/ 1161 h 1212"/>
              <a:gd name="T54" fmla="*/ 5960 w 12526"/>
              <a:gd name="T55" fmla="*/ 1200 h 1212"/>
              <a:gd name="T56" fmla="*/ 6264 w 12526"/>
              <a:gd name="T57" fmla="*/ 1212 h 1212"/>
              <a:gd name="T58" fmla="*/ 6494 w 12526"/>
              <a:gd name="T59" fmla="*/ 1205 h 1212"/>
              <a:gd name="T60" fmla="*/ 6771 w 12526"/>
              <a:gd name="T61" fmla="*/ 1172 h 1212"/>
              <a:gd name="T62" fmla="*/ 7018 w 12526"/>
              <a:gd name="T63" fmla="*/ 1117 h 1212"/>
              <a:gd name="T64" fmla="*/ 7238 w 12526"/>
              <a:gd name="T65" fmla="*/ 1044 h 1212"/>
              <a:gd name="T66" fmla="*/ 7437 w 12526"/>
              <a:gd name="T67" fmla="*/ 955 h 1212"/>
              <a:gd name="T68" fmla="*/ 7620 w 12526"/>
              <a:gd name="T69" fmla="*/ 855 h 1212"/>
              <a:gd name="T70" fmla="*/ 7834 w 12526"/>
              <a:gd name="T71" fmla="*/ 719 h 1212"/>
              <a:gd name="T72" fmla="*/ 8166 w 12526"/>
              <a:gd name="T73" fmla="*/ 493 h 1212"/>
              <a:gd name="T74" fmla="*/ 8382 w 12526"/>
              <a:gd name="T75" fmla="*/ 357 h 1212"/>
              <a:gd name="T76" fmla="*/ 8567 w 12526"/>
              <a:gd name="T77" fmla="*/ 257 h 1212"/>
              <a:gd name="T78" fmla="*/ 8768 w 12526"/>
              <a:gd name="T79" fmla="*/ 168 h 1212"/>
              <a:gd name="T80" fmla="*/ 8992 w 12526"/>
              <a:gd name="T81" fmla="*/ 95 h 1212"/>
              <a:gd name="T82" fmla="*/ 9242 w 12526"/>
              <a:gd name="T83" fmla="*/ 40 h 1212"/>
              <a:gd name="T84" fmla="*/ 9523 w 12526"/>
              <a:gd name="T85" fmla="*/ 7 h 1212"/>
              <a:gd name="T86" fmla="*/ 9758 w 12526"/>
              <a:gd name="T87" fmla="*/ 0 h 1212"/>
              <a:gd name="T88" fmla="*/ 10069 w 12526"/>
              <a:gd name="T89" fmla="*/ 11 h 1212"/>
              <a:gd name="T90" fmla="*/ 10346 w 12526"/>
              <a:gd name="T91" fmla="*/ 46 h 1212"/>
              <a:gd name="T92" fmla="*/ 10595 w 12526"/>
              <a:gd name="T93" fmla="*/ 100 h 1212"/>
              <a:gd name="T94" fmla="*/ 10816 w 12526"/>
              <a:gd name="T95" fmla="*/ 170 h 1212"/>
              <a:gd name="T96" fmla="*/ 11013 w 12526"/>
              <a:gd name="T97" fmla="*/ 253 h 1212"/>
              <a:gd name="T98" fmla="*/ 11190 w 12526"/>
              <a:gd name="T99" fmla="*/ 345 h 1212"/>
              <a:gd name="T100" fmla="*/ 11350 w 12526"/>
              <a:gd name="T101" fmla="*/ 444 h 1212"/>
              <a:gd name="T102" fmla="*/ 11630 w 12526"/>
              <a:gd name="T103" fmla="*/ 647 h 1212"/>
              <a:gd name="T104" fmla="*/ 11939 w 12526"/>
              <a:gd name="T105" fmla="*/ 881 h 1212"/>
              <a:gd name="T106" fmla="*/ 12060 w 12526"/>
              <a:gd name="T107" fmla="*/ 957 h 1212"/>
              <a:gd name="T108" fmla="*/ 12183 w 12526"/>
              <a:gd name="T109" fmla="*/ 1019 h 1212"/>
              <a:gd name="T110" fmla="*/ 12314 w 12526"/>
              <a:gd name="T111" fmla="*/ 1065 h 1212"/>
              <a:gd name="T112" fmla="*/ 12453 w 12526"/>
              <a:gd name="T113" fmla="*/ 1088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26" h="1212">
                <a:moveTo>
                  <a:pt x="0" y="1091"/>
                </a:moveTo>
                <a:lnTo>
                  <a:pt x="0" y="1091"/>
                </a:lnTo>
                <a:lnTo>
                  <a:pt x="40" y="1091"/>
                </a:lnTo>
                <a:lnTo>
                  <a:pt x="78" y="1088"/>
                </a:lnTo>
                <a:lnTo>
                  <a:pt x="116" y="1085"/>
                </a:lnTo>
                <a:lnTo>
                  <a:pt x="152" y="1079"/>
                </a:lnTo>
                <a:lnTo>
                  <a:pt x="188" y="1072"/>
                </a:lnTo>
                <a:lnTo>
                  <a:pt x="223" y="1065"/>
                </a:lnTo>
                <a:lnTo>
                  <a:pt x="258" y="1055"/>
                </a:lnTo>
                <a:lnTo>
                  <a:pt x="291" y="1045"/>
                </a:lnTo>
                <a:lnTo>
                  <a:pt x="324" y="1033"/>
                </a:lnTo>
                <a:lnTo>
                  <a:pt x="357" y="1019"/>
                </a:lnTo>
                <a:lnTo>
                  <a:pt x="388" y="1006"/>
                </a:lnTo>
                <a:lnTo>
                  <a:pt x="420" y="991"/>
                </a:lnTo>
                <a:lnTo>
                  <a:pt x="450" y="975"/>
                </a:lnTo>
                <a:lnTo>
                  <a:pt x="481" y="957"/>
                </a:lnTo>
                <a:lnTo>
                  <a:pt x="512" y="939"/>
                </a:lnTo>
                <a:lnTo>
                  <a:pt x="542" y="921"/>
                </a:lnTo>
                <a:lnTo>
                  <a:pt x="572" y="901"/>
                </a:lnTo>
                <a:lnTo>
                  <a:pt x="601" y="881"/>
                </a:lnTo>
                <a:lnTo>
                  <a:pt x="661" y="838"/>
                </a:lnTo>
                <a:lnTo>
                  <a:pt x="720" y="793"/>
                </a:lnTo>
                <a:lnTo>
                  <a:pt x="780" y="746"/>
                </a:lnTo>
                <a:lnTo>
                  <a:pt x="903" y="647"/>
                </a:lnTo>
                <a:lnTo>
                  <a:pt x="968" y="597"/>
                </a:lnTo>
                <a:lnTo>
                  <a:pt x="1034" y="545"/>
                </a:lnTo>
                <a:lnTo>
                  <a:pt x="1102" y="494"/>
                </a:lnTo>
                <a:lnTo>
                  <a:pt x="1138" y="469"/>
                </a:lnTo>
                <a:lnTo>
                  <a:pt x="1175" y="444"/>
                </a:lnTo>
                <a:lnTo>
                  <a:pt x="1213" y="418"/>
                </a:lnTo>
                <a:lnTo>
                  <a:pt x="1251" y="393"/>
                </a:lnTo>
                <a:lnTo>
                  <a:pt x="1291" y="369"/>
                </a:lnTo>
                <a:lnTo>
                  <a:pt x="1331" y="345"/>
                </a:lnTo>
                <a:lnTo>
                  <a:pt x="1373" y="321"/>
                </a:lnTo>
                <a:lnTo>
                  <a:pt x="1415" y="298"/>
                </a:lnTo>
                <a:lnTo>
                  <a:pt x="1460" y="275"/>
                </a:lnTo>
                <a:lnTo>
                  <a:pt x="1505" y="253"/>
                </a:lnTo>
                <a:lnTo>
                  <a:pt x="1552" y="231"/>
                </a:lnTo>
                <a:lnTo>
                  <a:pt x="1600" y="210"/>
                </a:lnTo>
                <a:lnTo>
                  <a:pt x="1649" y="190"/>
                </a:lnTo>
                <a:lnTo>
                  <a:pt x="1701" y="170"/>
                </a:lnTo>
                <a:lnTo>
                  <a:pt x="1753" y="152"/>
                </a:lnTo>
                <a:lnTo>
                  <a:pt x="1807" y="134"/>
                </a:lnTo>
                <a:lnTo>
                  <a:pt x="1863" y="116"/>
                </a:lnTo>
                <a:lnTo>
                  <a:pt x="1921" y="100"/>
                </a:lnTo>
                <a:lnTo>
                  <a:pt x="1980" y="85"/>
                </a:lnTo>
                <a:lnTo>
                  <a:pt x="2042" y="70"/>
                </a:lnTo>
                <a:lnTo>
                  <a:pt x="2105" y="58"/>
                </a:lnTo>
                <a:lnTo>
                  <a:pt x="2169" y="46"/>
                </a:lnTo>
                <a:lnTo>
                  <a:pt x="2237" y="36"/>
                </a:lnTo>
                <a:lnTo>
                  <a:pt x="2306" y="26"/>
                </a:lnTo>
                <a:lnTo>
                  <a:pt x="2378" y="19"/>
                </a:lnTo>
                <a:lnTo>
                  <a:pt x="2451" y="11"/>
                </a:lnTo>
                <a:lnTo>
                  <a:pt x="2526" y="6"/>
                </a:lnTo>
                <a:lnTo>
                  <a:pt x="2604" y="3"/>
                </a:lnTo>
                <a:lnTo>
                  <a:pt x="2684" y="0"/>
                </a:lnTo>
                <a:lnTo>
                  <a:pt x="2768" y="0"/>
                </a:lnTo>
                <a:lnTo>
                  <a:pt x="2768" y="0"/>
                </a:lnTo>
                <a:lnTo>
                  <a:pt x="2850" y="0"/>
                </a:lnTo>
                <a:lnTo>
                  <a:pt x="2930" y="3"/>
                </a:lnTo>
                <a:lnTo>
                  <a:pt x="3008" y="7"/>
                </a:lnTo>
                <a:lnTo>
                  <a:pt x="3083" y="12"/>
                </a:lnTo>
                <a:lnTo>
                  <a:pt x="3156" y="21"/>
                </a:lnTo>
                <a:lnTo>
                  <a:pt x="3227" y="29"/>
                </a:lnTo>
                <a:lnTo>
                  <a:pt x="3294" y="40"/>
                </a:lnTo>
                <a:lnTo>
                  <a:pt x="3361" y="51"/>
                </a:lnTo>
                <a:lnTo>
                  <a:pt x="3426" y="64"/>
                </a:lnTo>
                <a:lnTo>
                  <a:pt x="3488" y="79"/>
                </a:lnTo>
                <a:lnTo>
                  <a:pt x="3548" y="95"/>
                </a:lnTo>
                <a:lnTo>
                  <a:pt x="3607" y="112"/>
                </a:lnTo>
                <a:lnTo>
                  <a:pt x="3665" y="129"/>
                </a:lnTo>
                <a:lnTo>
                  <a:pt x="3720" y="148"/>
                </a:lnTo>
                <a:lnTo>
                  <a:pt x="3775" y="168"/>
                </a:lnTo>
                <a:lnTo>
                  <a:pt x="3827" y="189"/>
                </a:lnTo>
                <a:lnTo>
                  <a:pt x="3878" y="211"/>
                </a:lnTo>
                <a:lnTo>
                  <a:pt x="3928" y="233"/>
                </a:lnTo>
                <a:lnTo>
                  <a:pt x="3977" y="257"/>
                </a:lnTo>
                <a:lnTo>
                  <a:pt x="4025" y="280"/>
                </a:lnTo>
                <a:lnTo>
                  <a:pt x="4072" y="306"/>
                </a:lnTo>
                <a:lnTo>
                  <a:pt x="4117" y="331"/>
                </a:lnTo>
                <a:lnTo>
                  <a:pt x="4162" y="357"/>
                </a:lnTo>
                <a:lnTo>
                  <a:pt x="4206" y="384"/>
                </a:lnTo>
                <a:lnTo>
                  <a:pt x="4250" y="410"/>
                </a:lnTo>
                <a:lnTo>
                  <a:pt x="4293" y="437"/>
                </a:lnTo>
                <a:lnTo>
                  <a:pt x="4377" y="493"/>
                </a:lnTo>
                <a:lnTo>
                  <a:pt x="4459" y="549"/>
                </a:lnTo>
                <a:lnTo>
                  <a:pt x="4541" y="606"/>
                </a:lnTo>
                <a:lnTo>
                  <a:pt x="4623" y="663"/>
                </a:lnTo>
                <a:lnTo>
                  <a:pt x="4705" y="719"/>
                </a:lnTo>
                <a:lnTo>
                  <a:pt x="4788" y="775"/>
                </a:lnTo>
                <a:lnTo>
                  <a:pt x="4830" y="802"/>
                </a:lnTo>
                <a:lnTo>
                  <a:pt x="4872" y="828"/>
                </a:lnTo>
                <a:lnTo>
                  <a:pt x="4916" y="855"/>
                </a:lnTo>
                <a:lnTo>
                  <a:pt x="4960" y="881"/>
                </a:lnTo>
                <a:lnTo>
                  <a:pt x="5005" y="906"/>
                </a:lnTo>
                <a:lnTo>
                  <a:pt x="5050" y="932"/>
                </a:lnTo>
                <a:lnTo>
                  <a:pt x="5096" y="955"/>
                </a:lnTo>
                <a:lnTo>
                  <a:pt x="5144" y="979"/>
                </a:lnTo>
                <a:lnTo>
                  <a:pt x="5192" y="1001"/>
                </a:lnTo>
                <a:lnTo>
                  <a:pt x="5243" y="1023"/>
                </a:lnTo>
                <a:lnTo>
                  <a:pt x="5293" y="1044"/>
                </a:lnTo>
                <a:lnTo>
                  <a:pt x="5346" y="1064"/>
                </a:lnTo>
                <a:lnTo>
                  <a:pt x="5400" y="1083"/>
                </a:lnTo>
                <a:lnTo>
                  <a:pt x="5455" y="1100"/>
                </a:lnTo>
                <a:lnTo>
                  <a:pt x="5511" y="1117"/>
                </a:lnTo>
                <a:lnTo>
                  <a:pt x="5569" y="1133"/>
                </a:lnTo>
                <a:lnTo>
                  <a:pt x="5631" y="1148"/>
                </a:lnTo>
                <a:lnTo>
                  <a:pt x="5692" y="1161"/>
                </a:lnTo>
                <a:lnTo>
                  <a:pt x="5756" y="1172"/>
                </a:lnTo>
                <a:lnTo>
                  <a:pt x="5822" y="1183"/>
                </a:lnTo>
                <a:lnTo>
                  <a:pt x="5890" y="1191"/>
                </a:lnTo>
                <a:lnTo>
                  <a:pt x="5960" y="1200"/>
                </a:lnTo>
                <a:lnTo>
                  <a:pt x="6032" y="1205"/>
                </a:lnTo>
                <a:lnTo>
                  <a:pt x="6107" y="1209"/>
                </a:lnTo>
                <a:lnTo>
                  <a:pt x="6183" y="1212"/>
                </a:lnTo>
                <a:lnTo>
                  <a:pt x="6264" y="1212"/>
                </a:lnTo>
                <a:lnTo>
                  <a:pt x="6264" y="1212"/>
                </a:lnTo>
                <a:lnTo>
                  <a:pt x="6343" y="1212"/>
                </a:lnTo>
                <a:lnTo>
                  <a:pt x="6419" y="1209"/>
                </a:lnTo>
                <a:lnTo>
                  <a:pt x="6494" y="1205"/>
                </a:lnTo>
                <a:lnTo>
                  <a:pt x="6567" y="1200"/>
                </a:lnTo>
                <a:lnTo>
                  <a:pt x="6637" y="1191"/>
                </a:lnTo>
                <a:lnTo>
                  <a:pt x="6705" y="1183"/>
                </a:lnTo>
                <a:lnTo>
                  <a:pt x="6771" y="1172"/>
                </a:lnTo>
                <a:lnTo>
                  <a:pt x="6835" y="1161"/>
                </a:lnTo>
                <a:lnTo>
                  <a:pt x="6898" y="1148"/>
                </a:lnTo>
                <a:lnTo>
                  <a:pt x="6959" y="1133"/>
                </a:lnTo>
                <a:lnTo>
                  <a:pt x="7018" y="1117"/>
                </a:lnTo>
                <a:lnTo>
                  <a:pt x="7075" y="1100"/>
                </a:lnTo>
                <a:lnTo>
                  <a:pt x="7130" y="1083"/>
                </a:lnTo>
                <a:lnTo>
                  <a:pt x="7185" y="1064"/>
                </a:lnTo>
                <a:lnTo>
                  <a:pt x="7238" y="1044"/>
                </a:lnTo>
                <a:lnTo>
                  <a:pt x="7289" y="1023"/>
                </a:lnTo>
                <a:lnTo>
                  <a:pt x="7340" y="1001"/>
                </a:lnTo>
                <a:lnTo>
                  <a:pt x="7388" y="979"/>
                </a:lnTo>
                <a:lnTo>
                  <a:pt x="7437" y="955"/>
                </a:lnTo>
                <a:lnTo>
                  <a:pt x="7484" y="932"/>
                </a:lnTo>
                <a:lnTo>
                  <a:pt x="7531" y="906"/>
                </a:lnTo>
                <a:lnTo>
                  <a:pt x="7576" y="881"/>
                </a:lnTo>
                <a:lnTo>
                  <a:pt x="7620" y="855"/>
                </a:lnTo>
                <a:lnTo>
                  <a:pt x="7664" y="828"/>
                </a:lnTo>
                <a:lnTo>
                  <a:pt x="7708" y="802"/>
                </a:lnTo>
                <a:lnTo>
                  <a:pt x="7750" y="775"/>
                </a:lnTo>
                <a:lnTo>
                  <a:pt x="7834" y="719"/>
                </a:lnTo>
                <a:lnTo>
                  <a:pt x="7917" y="663"/>
                </a:lnTo>
                <a:lnTo>
                  <a:pt x="8000" y="606"/>
                </a:lnTo>
                <a:lnTo>
                  <a:pt x="8083" y="549"/>
                </a:lnTo>
                <a:lnTo>
                  <a:pt x="8166" y="493"/>
                </a:lnTo>
                <a:lnTo>
                  <a:pt x="8251" y="437"/>
                </a:lnTo>
                <a:lnTo>
                  <a:pt x="8294" y="410"/>
                </a:lnTo>
                <a:lnTo>
                  <a:pt x="8337" y="384"/>
                </a:lnTo>
                <a:lnTo>
                  <a:pt x="8382" y="357"/>
                </a:lnTo>
                <a:lnTo>
                  <a:pt x="8427" y="331"/>
                </a:lnTo>
                <a:lnTo>
                  <a:pt x="8472" y="306"/>
                </a:lnTo>
                <a:lnTo>
                  <a:pt x="8519" y="280"/>
                </a:lnTo>
                <a:lnTo>
                  <a:pt x="8567" y="257"/>
                </a:lnTo>
                <a:lnTo>
                  <a:pt x="8615" y="233"/>
                </a:lnTo>
                <a:lnTo>
                  <a:pt x="8665" y="211"/>
                </a:lnTo>
                <a:lnTo>
                  <a:pt x="8717" y="189"/>
                </a:lnTo>
                <a:lnTo>
                  <a:pt x="8768" y="168"/>
                </a:lnTo>
                <a:lnTo>
                  <a:pt x="8822" y="148"/>
                </a:lnTo>
                <a:lnTo>
                  <a:pt x="8877" y="129"/>
                </a:lnTo>
                <a:lnTo>
                  <a:pt x="8934" y="112"/>
                </a:lnTo>
                <a:lnTo>
                  <a:pt x="8992" y="95"/>
                </a:lnTo>
                <a:lnTo>
                  <a:pt x="9052" y="79"/>
                </a:lnTo>
                <a:lnTo>
                  <a:pt x="9113" y="64"/>
                </a:lnTo>
                <a:lnTo>
                  <a:pt x="9177" y="51"/>
                </a:lnTo>
                <a:lnTo>
                  <a:pt x="9242" y="40"/>
                </a:lnTo>
                <a:lnTo>
                  <a:pt x="9309" y="29"/>
                </a:lnTo>
                <a:lnTo>
                  <a:pt x="9378" y="21"/>
                </a:lnTo>
                <a:lnTo>
                  <a:pt x="9450" y="12"/>
                </a:lnTo>
                <a:lnTo>
                  <a:pt x="9523" y="7"/>
                </a:lnTo>
                <a:lnTo>
                  <a:pt x="9599" y="3"/>
                </a:lnTo>
                <a:lnTo>
                  <a:pt x="9677" y="0"/>
                </a:lnTo>
                <a:lnTo>
                  <a:pt x="9758" y="0"/>
                </a:lnTo>
                <a:lnTo>
                  <a:pt x="9758" y="0"/>
                </a:lnTo>
                <a:lnTo>
                  <a:pt x="9839" y="0"/>
                </a:lnTo>
                <a:lnTo>
                  <a:pt x="9918" y="3"/>
                </a:lnTo>
                <a:lnTo>
                  <a:pt x="9994" y="6"/>
                </a:lnTo>
                <a:lnTo>
                  <a:pt x="10069" y="11"/>
                </a:lnTo>
                <a:lnTo>
                  <a:pt x="10142" y="19"/>
                </a:lnTo>
                <a:lnTo>
                  <a:pt x="10211" y="26"/>
                </a:lnTo>
                <a:lnTo>
                  <a:pt x="10280" y="36"/>
                </a:lnTo>
                <a:lnTo>
                  <a:pt x="10346" y="46"/>
                </a:lnTo>
                <a:lnTo>
                  <a:pt x="10411" y="58"/>
                </a:lnTo>
                <a:lnTo>
                  <a:pt x="10473" y="70"/>
                </a:lnTo>
                <a:lnTo>
                  <a:pt x="10535" y="85"/>
                </a:lnTo>
                <a:lnTo>
                  <a:pt x="10595" y="100"/>
                </a:lnTo>
                <a:lnTo>
                  <a:pt x="10651" y="116"/>
                </a:lnTo>
                <a:lnTo>
                  <a:pt x="10708" y="134"/>
                </a:lnTo>
                <a:lnTo>
                  <a:pt x="10762" y="152"/>
                </a:lnTo>
                <a:lnTo>
                  <a:pt x="10816" y="170"/>
                </a:lnTo>
                <a:lnTo>
                  <a:pt x="10866" y="190"/>
                </a:lnTo>
                <a:lnTo>
                  <a:pt x="10917" y="210"/>
                </a:lnTo>
                <a:lnTo>
                  <a:pt x="10965" y="231"/>
                </a:lnTo>
                <a:lnTo>
                  <a:pt x="11013" y="253"/>
                </a:lnTo>
                <a:lnTo>
                  <a:pt x="11059" y="275"/>
                </a:lnTo>
                <a:lnTo>
                  <a:pt x="11103" y="298"/>
                </a:lnTo>
                <a:lnTo>
                  <a:pt x="11148" y="321"/>
                </a:lnTo>
                <a:lnTo>
                  <a:pt x="11190" y="345"/>
                </a:lnTo>
                <a:lnTo>
                  <a:pt x="11232" y="369"/>
                </a:lnTo>
                <a:lnTo>
                  <a:pt x="11272" y="393"/>
                </a:lnTo>
                <a:lnTo>
                  <a:pt x="11311" y="418"/>
                </a:lnTo>
                <a:lnTo>
                  <a:pt x="11350" y="444"/>
                </a:lnTo>
                <a:lnTo>
                  <a:pt x="11425" y="494"/>
                </a:lnTo>
                <a:lnTo>
                  <a:pt x="11495" y="545"/>
                </a:lnTo>
                <a:lnTo>
                  <a:pt x="11564" y="597"/>
                </a:lnTo>
                <a:lnTo>
                  <a:pt x="11630" y="647"/>
                </a:lnTo>
                <a:lnTo>
                  <a:pt x="11756" y="746"/>
                </a:lnTo>
                <a:lnTo>
                  <a:pt x="11819" y="793"/>
                </a:lnTo>
                <a:lnTo>
                  <a:pt x="11879" y="838"/>
                </a:lnTo>
                <a:lnTo>
                  <a:pt x="11939" y="881"/>
                </a:lnTo>
                <a:lnTo>
                  <a:pt x="11969" y="901"/>
                </a:lnTo>
                <a:lnTo>
                  <a:pt x="11999" y="921"/>
                </a:lnTo>
                <a:lnTo>
                  <a:pt x="12029" y="939"/>
                </a:lnTo>
                <a:lnTo>
                  <a:pt x="12060" y="957"/>
                </a:lnTo>
                <a:lnTo>
                  <a:pt x="12090" y="975"/>
                </a:lnTo>
                <a:lnTo>
                  <a:pt x="12121" y="991"/>
                </a:lnTo>
                <a:lnTo>
                  <a:pt x="12151" y="1006"/>
                </a:lnTo>
                <a:lnTo>
                  <a:pt x="12183" y="1019"/>
                </a:lnTo>
                <a:lnTo>
                  <a:pt x="12215" y="1033"/>
                </a:lnTo>
                <a:lnTo>
                  <a:pt x="12247" y="1045"/>
                </a:lnTo>
                <a:lnTo>
                  <a:pt x="12280" y="1055"/>
                </a:lnTo>
                <a:lnTo>
                  <a:pt x="12314" y="1065"/>
                </a:lnTo>
                <a:lnTo>
                  <a:pt x="12347" y="1072"/>
                </a:lnTo>
                <a:lnTo>
                  <a:pt x="12381" y="1079"/>
                </a:lnTo>
                <a:lnTo>
                  <a:pt x="12417" y="1085"/>
                </a:lnTo>
                <a:lnTo>
                  <a:pt x="12453" y="1088"/>
                </a:lnTo>
                <a:lnTo>
                  <a:pt x="12488" y="1091"/>
                </a:lnTo>
                <a:lnTo>
                  <a:pt x="12526" y="1091"/>
                </a:lnTo>
              </a:path>
            </a:pathLst>
          </a:custGeom>
          <a:noFill/>
          <a:ln w="38100" cmpd="sng">
            <a:solidFill>
              <a:schemeClr val="accent5"/>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Oval 39">
            <a:extLst>
              <a:ext uri="{FF2B5EF4-FFF2-40B4-BE49-F238E27FC236}">
                <a16:creationId xmlns:a16="http://schemas.microsoft.com/office/drawing/2014/main" id="{21B397B5-6634-9C45-BB75-C7FDA01E4EEF}"/>
              </a:ext>
            </a:extLst>
          </p:cNvPr>
          <p:cNvSpPr/>
          <p:nvPr/>
        </p:nvSpPr>
        <p:spPr bwMode="gray">
          <a:xfrm>
            <a:off x="5715000" y="2684490"/>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aphicFrame>
        <p:nvGraphicFramePr>
          <p:cNvPr id="5" name="Object 4" hidden="1">
            <a:extLst>
              <a:ext uri="{FF2B5EF4-FFF2-40B4-BE49-F238E27FC236}">
                <a16:creationId xmlns:a16="http://schemas.microsoft.com/office/drawing/2014/main" id="{F913F964-A1F9-4BEB-927D-76B1242E14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F913F964-A1F9-4BEB-927D-76B1242E14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0A4BF0-1B09-4E7B-8068-603E713C73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811B234-1648-4119-93DB-5121152A2354}"/>
              </a:ext>
            </a:extLst>
          </p:cNvPr>
          <p:cNvSpPr>
            <a:spLocks noGrp="1"/>
          </p:cNvSpPr>
          <p:nvPr>
            <p:ph type="title"/>
          </p:nvPr>
        </p:nvSpPr>
        <p:spPr/>
        <p:txBody>
          <a:bodyPr/>
          <a:lstStyle/>
          <a:p>
            <a:r>
              <a:rPr lang="en-US" dirty="0"/>
              <a:t>Data Understanding &amp; Analysis</a:t>
            </a:r>
          </a:p>
        </p:txBody>
      </p:sp>
      <p:sp>
        <p:nvSpPr>
          <p:cNvPr id="6" name="Rectangle 5">
            <a:extLst>
              <a:ext uri="{FF2B5EF4-FFF2-40B4-BE49-F238E27FC236}">
                <a16:creationId xmlns:a16="http://schemas.microsoft.com/office/drawing/2014/main" id="{AAF4DD6D-E354-490C-B0AB-85004AF1A6FE}"/>
              </a:ext>
            </a:extLst>
          </p:cNvPr>
          <p:cNvSpPr/>
          <p:nvPr/>
        </p:nvSpPr>
        <p:spPr>
          <a:xfrm>
            <a:off x="1441717" y="3861742"/>
            <a:ext cx="2470715" cy="2292216"/>
          </a:xfrm>
          <a:prstGeom prst="rect">
            <a:avLst/>
          </a:prstGeom>
        </p:spPr>
        <p:txBody>
          <a:bodyPr wrap="square" lIns="0" tIns="35712" rIns="71425" bIns="35712">
            <a:spAutoFit/>
          </a:bodyPr>
          <a:lstStyle/>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rPr>
              <a:t>Box Office</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IMDB</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rPr>
              <a:t>Rotten Tomatoe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Movie DB</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rPr>
              <a:t>The Numbers </a:t>
            </a:r>
          </a:p>
          <a:p>
            <a:pPr marR="0" lvl="0" defTabSz="914400" rtl="0" eaLnBrk="1" fontAlgn="auto" latinLnBrk="0" hangingPunct="1">
              <a:lnSpc>
                <a:spcPct val="120000"/>
              </a:lnSpc>
              <a:spcBef>
                <a:spcPts val="0"/>
              </a:spcBef>
              <a:spcAft>
                <a:spcPts val="0"/>
              </a:spcAft>
              <a:buClrTx/>
              <a:buSzTx/>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R="0" lvl="0" defTabSz="914400" rtl="0" eaLnBrk="1" fontAlgn="auto" latinLnBrk="0" hangingPunct="1">
              <a:lnSpc>
                <a:spcPct val="120000"/>
              </a:lnSpc>
              <a:spcBef>
                <a:spcPts val="0"/>
              </a:spcBef>
              <a:spcAft>
                <a:spcPts val="0"/>
              </a:spcAft>
              <a:buClrTx/>
              <a:buSzTx/>
              <a:tabLst/>
              <a:defRPr/>
            </a:pPr>
            <a:r>
              <a:rPr lang="en-US" sz="1100" dirty="0">
                <a:solidFill>
                  <a:srgbClr val="000000"/>
                </a:solidFill>
                <a:latin typeface="Open Sans"/>
              </a:rPr>
              <a:t>Six datasets (.csv)  with more than 26 thousand movies. </a:t>
            </a:r>
          </a:p>
          <a:p>
            <a:pPr marR="0" lvl="0" defTabSz="914400" rtl="0" eaLnBrk="1" fontAlgn="auto" latinLnBrk="0" hangingPunct="1">
              <a:lnSpc>
                <a:spcPct val="120000"/>
              </a:lnSpc>
              <a:spcBef>
                <a:spcPts val="0"/>
              </a:spcBef>
              <a:spcAft>
                <a:spcPts val="0"/>
              </a:spcAft>
              <a:buClrTx/>
              <a:buSzTx/>
              <a:tabLst/>
              <a:defRPr/>
            </a:pPr>
            <a:r>
              <a:rPr lang="en-US" sz="1100" dirty="0">
                <a:solidFill>
                  <a:srgbClr val="000000"/>
                </a:solidFill>
                <a:latin typeface="Open Sans"/>
              </a:rPr>
              <a:t>Information about genres, budgets, release dates, directors, ratings, reviews, </a:t>
            </a:r>
            <a:r>
              <a:rPr lang="en-US" sz="1100" dirty="0" err="1">
                <a:solidFill>
                  <a:srgbClr val="000000"/>
                </a:solidFill>
                <a:latin typeface="Open Sans"/>
              </a:rPr>
              <a:t>etc</a:t>
            </a:r>
            <a:r>
              <a:rPr lang="en-US" sz="1100" dirty="0">
                <a:solidFill>
                  <a:srgbClr val="000000"/>
                </a:solidFill>
                <a:latin typeface="Open Sans"/>
              </a:rPr>
              <a:t>…</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 name="Rectangle 3">
            <a:extLst>
              <a:ext uri="{FF2B5EF4-FFF2-40B4-BE49-F238E27FC236}">
                <a16:creationId xmlns:a16="http://schemas.microsoft.com/office/drawing/2014/main" id="{CC247E92-3B5A-4056-916E-CFA8DF3000E0}"/>
              </a:ext>
            </a:extLst>
          </p:cNvPr>
          <p:cNvSpPr>
            <a:spLocks/>
          </p:cNvSpPr>
          <p:nvPr/>
        </p:nvSpPr>
        <p:spPr bwMode="auto">
          <a:xfrm>
            <a:off x="8334531" y="3244402"/>
            <a:ext cx="3025130" cy="9171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Findings</a:t>
            </a:r>
            <a:endPar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endParaRPr>
          </a:p>
        </p:txBody>
      </p:sp>
      <p:sp>
        <p:nvSpPr>
          <p:cNvPr id="9" name="Rectangle 3">
            <a:extLst>
              <a:ext uri="{FF2B5EF4-FFF2-40B4-BE49-F238E27FC236}">
                <a16:creationId xmlns:a16="http://schemas.microsoft.com/office/drawing/2014/main" id="{1E61D200-7D4B-4D76-A13F-FDBBFBBCC696}"/>
              </a:ext>
            </a:extLst>
          </p:cNvPr>
          <p:cNvSpPr>
            <a:spLocks/>
          </p:cNvSpPr>
          <p:nvPr/>
        </p:nvSpPr>
        <p:spPr bwMode="auto">
          <a:xfrm>
            <a:off x="1304143" y="3244403"/>
            <a:ext cx="2784949" cy="9171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Multiple Sources of Data</a:t>
            </a:r>
          </a:p>
        </p:txBody>
      </p:sp>
      <p:sp>
        <p:nvSpPr>
          <p:cNvPr id="10" name="Rectangle 3">
            <a:extLst>
              <a:ext uri="{FF2B5EF4-FFF2-40B4-BE49-F238E27FC236}">
                <a16:creationId xmlns:a16="http://schemas.microsoft.com/office/drawing/2014/main" id="{2CF9378D-0011-4490-9767-78F52AB31038}"/>
              </a:ext>
            </a:extLst>
          </p:cNvPr>
          <p:cNvSpPr>
            <a:spLocks/>
          </p:cNvSpPr>
          <p:nvPr/>
        </p:nvSpPr>
        <p:spPr bwMode="auto">
          <a:xfrm>
            <a:off x="4501008" y="3943627"/>
            <a:ext cx="3778562" cy="4358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Data Cleaning &amp; Explor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endParaRPr>
          </a:p>
        </p:txBody>
      </p:sp>
      <p:sp>
        <p:nvSpPr>
          <p:cNvPr id="11" name="Rectangle 10">
            <a:extLst>
              <a:ext uri="{FF2B5EF4-FFF2-40B4-BE49-F238E27FC236}">
                <a16:creationId xmlns:a16="http://schemas.microsoft.com/office/drawing/2014/main" id="{4D6C20C9-D96F-44A2-A2D7-A033E0BBA825}"/>
              </a:ext>
            </a:extLst>
          </p:cNvPr>
          <p:cNvSpPr/>
          <p:nvPr/>
        </p:nvSpPr>
        <p:spPr>
          <a:xfrm>
            <a:off x="4880665" y="4581270"/>
            <a:ext cx="2839270" cy="1073421"/>
          </a:xfrm>
          <a:prstGeom prst="rect">
            <a:avLst/>
          </a:prstGeom>
        </p:spPr>
        <p:txBody>
          <a:bodyPr wrap="square" lIns="0" tIns="35712" rIns="71425" bIns="35712">
            <a:spAutoFit/>
          </a:bodyPr>
          <a:lstStyle/>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Choosing of budget dataset with 5,782  entries and 6 column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Cleaning, rename and formatting.  </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Descriptive analysis and statistic</a:t>
            </a:r>
            <a:r>
              <a:rPr lang="en-US" sz="1100" dirty="0">
                <a:solidFill>
                  <a:srgbClr val="000000"/>
                </a:solidFill>
                <a:latin typeface="Open Sans"/>
                <a:sym typeface="Frutiger Next Pro Light" charset="0"/>
              </a:rPr>
              <a:t>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Hypothesis Testing</a:t>
            </a:r>
          </a:p>
        </p:txBody>
      </p:sp>
      <p:grpSp>
        <p:nvGrpSpPr>
          <p:cNvPr id="37" name="Group 127">
            <a:extLst>
              <a:ext uri="{FF2B5EF4-FFF2-40B4-BE49-F238E27FC236}">
                <a16:creationId xmlns:a16="http://schemas.microsoft.com/office/drawing/2014/main" id="{140AAEF1-CCEE-4343-A809-C1B2C9A8D66A}"/>
              </a:ext>
            </a:extLst>
          </p:cNvPr>
          <p:cNvGrpSpPr>
            <a:grpSpLocks noChangeAspect="1"/>
          </p:cNvGrpSpPr>
          <p:nvPr/>
        </p:nvGrpSpPr>
        <p:grpSpPr bwMode="auto">
          <a:xfrm rot="10800000">
            <a:off x="5752150" y="2876290"/>
            <a:ext cx="988438" cy="988437"/>
            <a:chOff x="5048" y="380"/>
            <a:chExt cx="340" cy="340"/>
          </a:xfrm>
          <a:solidFill>
            <a:sysClr val="windowText" lastClr="000000"/>
          </a:solidFill>
        </p:grpSpPr>
        <p:sp>
          <p:nvSpPr>
            <p:cNvPr id="38" name="Freeform 128">
              <a:extLst>
                <a:ext uri="{FF2B5EF4-FFF2-40B4-BE49-F238E27FC236}">
                  <a16:creationId xmlns:a16="http://schemas.microsoft.com/office/drawing/2014/main" id="{8553A520-05AC-C24F-AEAA-3A779D71CCC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9" name="Freeform 129">
              <a:extLst>
                <a:ext uri="{FF2B5EF4-FFF2-40B4-BE49-F238E27FC236}">
                  <a16:creationId xmlns:a16="http://schemas.microsoft.com/office/drawing/2014/main" id="{B39F4AC4-14BA-154E-AB18-DD947C662919}"/>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28" name="Oval 27">
            <a:extLst>
              <a:ext uri="{FF2B5EF4-FFF2-40B4-BE49-F238E27FC236}">
                <a16:creationId xmlns:a16="http://schemas.microsoft.com/office/drawing/2014/main" id="{F1359A64-52CF-BF4F-A800-70FFECB5A1B1}"/>
              </a:ext>
            </a:extLst>
          </p:cNvPr>
          <p:cNvSpPr/>
          <p:nvPr/>
        </p:nvSpPr>
        <p:spPr bwMode="gray">
          <a:xfrm>
            <a:off x="2083632" y="1963713"/>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1" name="Oval 40">
            <a:extLst>
              <a:ext uri="{FF2B5EF4-FFF2-40B4-BE49-F238E27FC236}">
                <a16:creationId xmlns:a16="http://schemas.microsoft.com/office/drawing/2014/main" id="{278E2B27-7869-384A-BB57-9FD4AD0FD198}"/>
              </a:ext>
            </a:extLst>
          </p:cNvPr>
          <p:cNvSpPr/>
          <p:nvPr/>
        </p:nvSpPr>
        <p:spPr bwMode="gray">
          <a:xfrm>
            <a:off x="9009088" y="1846290"/>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30" name="Group 749">
            <a:extLst>
              <a:ext uri="{FF2B5EF4-FFF2-40B4-BE49-F238E27FC236}">
                <a16:creationId xmlns:a16="http://schemas.microsoft.com/office/drawing/2014/main" id="{19BF14BB-9F5F-6545-836C-9FAF1A2650B8}"/>
              </a:ext>
            </a:extLst>
          </p:cNvPr>
          <p:cNvGrpSpPr>
            <a:grpSpLocks noChangeAspect="1"/>
          </p:cNvGrpSpPr>
          <p:nvPr/>
        </p:nvGrpSpPr>
        <p:grpSpPr bwMode="auto">
          <a:xfrm>
            <a:off x="2149428" y="1975508"/>
            <a:ext cx="988438" cy="988438"/>
            <a:chOff x="3520" y="2686"/>
            <a:chExt cx="340" cy="340"/>
          </a:xfrm>
          <a:solidFill>
            <a:sysClr val="windowText" lastClr="000000"/>
          </a:solidFill>
        </p:grpSpPr>
        <p:sp>
          <p:nvSpPr>
            <p:cNvPr id="31" name="Freeform 750">
              <a:extLst>
                <a:ext uri="{FF2B5EF4-FFF2-40B4-BE49-F238E27FC236}">
                  <a16:creationId xmlns:a16="http://schemas.microsoft.com/office/drawing/2014/main" id="{FAF9E400-2C1D-524D-8EB3-870ECA3564A8}"/>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2" name="Freeform 751">
              <a:extLst>
                <a:ext uri="{FF2B5EF4-FFF2-40B4-BE49-F238E27FC236}">
                  <a16:creationId xmlns:a16="http://schemas.microsoft.com/office/drawing/2014/main" id="{DF64D58A-12FB-FE49-BB53-1549542EF3D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3" name="Freeform 752">
              <a:extLst>
                <a:ext uri="{FF2B5EF4-FFF2-40B4-BE49-F238E27FC236}">
                  <a16:creationId xmlns:a16="http://schemas.microsoft.com/office/drawing/2014/main" id="{6DF74D96-7A84-DD44-A2A4-C487A667E3E1}"/>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grpSp>
        <p:nvGrpSpPr>
          <p:cNvPr id="34" name="Group 53">
            <a:extLst>
              <a:ext uri="{FF2B5EF4-FFF2-40B4-BE49-F238E27FC236}">
                <a16:creationId xmlns:a16="http://schemas.microsoft.com/office/drawing/2014/main" id="{92276E67-080F-C74C-91B1-E7D25F07E40F}"/>
              </a:ext>
            </a:extLst>
          </p:cNvPr>
          <p:cNvGrpSpPr>
            <a:grpSpLocks noChangeAspect="1"/>
          </p:cNvGrpSpPr>
          <p:nvPr/>
        </p:nvGrpSpPr>
        <p:grpSpPr bwMode="auto">
          <a:xfrm>
            <a:off x="9065627" y="2035471"/>
            <a:ext cx="981396" cy="984281"/>
            <a:chOff x="5183" y="1046"/>
            <a:chExt cx="340" cy="341"/>
          </a:xfrm>
          <a:solidFill>
            <a:sysClr val="windowText" lastClr="000000"/>
          </a:solidFill>
        </p:grpSpPr>
        <p:sp>
          <p:nvSpPr>
            <p:cNvPr id="35" name="Freeform 54">
              <a:extLst>
                <a:ext uri="{FF2B5EF4-FFF2-40B4-BE49-F238E27FC236}">
                  <a16:creationId xmlns:a16="http://schemas.microsoft.com/office/drawing/2014/main" id="{E2E973FA-E646-9046-8514-1C245D5998A0}"/>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6" name="Freeform 55">
              <a:extLst>
                <a:ext uri="{FF2B5EF4-FFF2-40B4-BE49-F238E27FC236}">
                  <a16:creationId xmlns:a16="http://schemas.microsoft.com/office/drawing/2014/main" id="{14AD995F-7A54-5142-BBFB-7BBF342E8465}"/>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29" name="Rectangle 28">
            <a:extLst>
              <a:ext uri="{FF2B5EF4-FFF2-40B4-BE49-F238E27FC236}">
                <a16:creationId xmlns:a16="http://schemas.microsoft.com/office/drawing/2014/main" id="{3571196E-4EA7-439F-81F3-F97E6684FE9B}"/>
              </a:ext>
            </a:extLst>
          </p:cNvPr>
          <p:cNvSpPr/>
          <p:nvPr/>
        </p:nvSpPr>
        <p:spPr>
          <a:xfrm>
            <a:off x="8691486" y="3924182"/>
            <a:ext cx="2839270" cy="667156"/>
          </a:xfrm>
          <a:prstGeom prst="rect">
            <a:avLst/>
          </a:prstGeom>
        </p:spPr>
        <p:txBody>
          <a:bodyPr wrap="square" lIns="0" tIns="35712" rIns="71425" bIns="35712">
            <a:spAutoFit/>
          </a:bodyPr>
          <a:lstStyle/>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Categorization of budget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Relation between budget and ROI</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Average ROI by budget</a:t>
            </a:r>
            <a:endPar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endParaRPr>
          </a:p>
        </p:txBody>
      </p:sp>
    </p:spTree>
    <p:extLst>
      <p:ext uri="{BB962C8B-B14F-4D97-AF65-F5344CB8AC3E}">
        <p14:creationId xmlns:p14="http://schemas.microsoft.com/office/powerpoint/2010/main" val="32457005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xD.8gmfS1u4uSfmEXu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tifm.tJT9KQSgxk3i1u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7d174352-5b80-4e49-85a5-95000dc4228d">
      <UserInfo>
        <DisplayName>Sutey, Kelly</DisplayName>
        <AccountId>444</AccountId>
        <AccountType/>
      </UserInfo>
    </SharedWithUsers>
    <lcf76f155ced4ddcb4097134ff3c332f xmlns="2e275414-d7f4-45cc-9fd2-927cdd7f7ce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A958C5A7E0AC448BBFAD86FED3104FB" ma:contentTypeVersion="10" ma:contentTypeDescription="Create a new document." ma:contentTypeScope="" ma:versionID="7a0a9b1b4c753b0431dd1785fe786011">
  <xsd:schema xmlns:xsd="http://www.w3.org/2001/XMLSchema" xmlns:xs="http://www.w3.org/2001/XMLSchema" xmlns:p="http://schemas.microsoft.com/office/2006/metadata/properties" xmlns:ns2="2e275414-d7f4-45cc-9fd2-927cdd7f7ce6" xmlns:ns3="7d174352-5b80-4e49-85a5-95000dc4228d" targetNamespace="http://schemas.microsoft.com/office/2006/metadata/properties" ma:root="true" ma:fieldsID="379aaeec088b988a627ae97fbefa6bee" ns2:_="" ns3:_="">
    <xsd:import namespace="2e275414-d7f4-45cc-9fd2-927cdd7f7ce6"/>
    <xsd:import namespace="7d174352-5b80-4e49-85a5-95000dc4228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275414-d7f4-45cc-9fd2-927cdd7f7c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174352-5b80-4e49-85a5-95000dc4228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7FB8A3-7F76-499E-9E0B-923C5510267E}">
  <ds:schemaRefs>
    <ds:schemaRef ds:uri="http://schemas.microsoft.com/sharepoint/v3/contenttype/forms"/>
  </ds:schemaRefs>
</ds:datastoreItem>
</file>

<file path=customXml/itemProps2.xml><?xml version="1.0" encoding="utf-8"?>
<ds:datastoreItem xmlns:ds="http://schemas.openxmlformats.org/officeDocument/2006/customXml" ds:itemID="{B387EEAB-2BDC-48C7-A4F7-2A6F1AC14E36}">
  <ds:schemaRefs>
    <ds:schemaRef ds:uri="http://purl.org/dc/elements/1.1/"/>
    <ds:schemaRef ds:uri="http://purl.org/dc/dcmitype/"/>
    <ds:schemaRef ds:uri="http://www.w3.org/XML/1998/namespace"/>
    <ds:schemaRef ds:uri="2e275414-d7f4-45cc-9fd2-927cdd7f7ce6"/>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d174352-5b80-4e49-85a5-95000dc4228d"/>
  </ds:schemaRefs>
</ds:datastoreItem>
</file>

<file path=customXml/itemProps3.xml><?xml version="1.0" encoding="utf-8"?>
<ds:datastoreItem xmlns:ds="http://schemas.openxmlformats.org/officeDocument/2006/customXml" ds:itemID="{C11AFCF3-4573-42C4-B883-1296F4A002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275414-d7f4-45cc-9fd2-927cdd7f7ce6"/>
    <ds:schemaRef ds:uri="7d174352-5b80-4e49-85a5-95000dc422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11</TotalTime>
  <Words>775</Words>
  <Application>Microsoft Office PowerPoint</Application>
  <PresentationFormat>Widescreen</PresentationFormat>
  <Paragraphs>229</Paragraphs>
  <Slides>19</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Arial</vt:lpstr>
      <vt:lpstr>Calibri</vt:lpstr>
      <vt:lpstr>Chronicle Display Black</vt:lpstr>
      <vt:lpstr>Open Sans</vt:lpstr>
      <vt:lpstr>Open Sans Light</vt:lpstr>
      <vt:lpstr>Open Sans Semibold</vt:lpstr>
      <vt:lpstr>Verdana</vt:lpstr>
      <vt:lpstr>Wingdings 2</vt:lpstr>
      <vt:lpstr>Deloitte Consulting Scrapbook</vt:lpstr>
      <vt:lpstr>think-cell Slide</vt:lpstr>
      <vt:lpstr>PowerPoint Presentation</vt:lpstr>
      <vt:lpstr>Agenda</vt:lpstr>
      <vt:lpstr>Overview &amp; Business Understanding</vt:lpstr>
      <vt:lpstr>Overview</vt:lpstr>
      <vt:lpstr>PowerPoint Presentation</vt:lpstr>
      <vt:lpstr>PowerPoint Presentation</vt:lpstr>
      <vt:lpstr>PowerPoint Presentation</vt:lpstr>
      <vt:lpstr>Data Understanding &amp; Analysis</vt:lpstr>
      <vt:lpstr>Data Understanding &amp; Analysis</vt:lpstr>
      <vt:lpstr>   The Findings</vt:lpstr>
      <vt:lpstr>   The Findings</vt:lpstr>
      <vt:lpstr>   The Findings</vt:lpstr>
      <vt:lpstr>   The Findings</vt:lpstr>
      <vt:lpstr>The Recommendation</vt:lpstr>
      <vt:lpstr>   </vt:lpstr>
      <vt:lpstr>   The higher the risk, the higher the return.</vt:lpstr>
      <vt:lpstr>Next Steps</vt:lpstr>
      <vt:lpstr>Now what?</vt:lpstr>
      <vt:lpstr>Thank You!  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rmer, Nicole</dc:creator>
  <cp:lastModifiedBy>Flores Albores, Damaris</cp:lastModifiedBy>
  <cp:revision>7</cp:revision>
  <dcterms:created xsi:type="dcterms:W3CDTF">2020-11-16T20:24:30Z</dcterms:created>
  <dcterms:modified xsi:type="dcterms:W3CDTF">2022-11-01T23:2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A14960D4FA4FB41B44D057C75541</vt:lpwstr>
  </property>
  <property fmtid="{D5CDD505-2E9C-101B-9397-08002B2CF9AE}" pid="3" name="MSIP_Label_589256c7-9946-44df-b379-51beb93fd2d9_Enabled">
    <vt:lpwstr>true</vt:lpwstr>
  </property>
  <property fmtid="{D5CDD505-2E9C-101B-9397-08002B2CF9AE}" pid="4" name="MSIP_Label_589256c7-9946-44df-b379-51beb93fd2d9_SetDate">
    <vt:lpwstr>2022-03-22T15:40:31Z</vt:lpwstr>
  </property>
  <property fmtid="{D5CDD505-2E9C-101B-9397-08002B2CF9AE}" pid="5" name="MSIP_Label_589256c7-9946-44df-b379-51beb93fd2d9_Method">
    <vt:lpwstr>Privileged</vt:lpwstr>
  </property>
  <property fmtid="{D5CDD505-2E9C-101B-9397-08002B2CF9AE}" pid="6" name="MSIP_Label_589256c7-9946-44df-b379-51beb93fd2d9_Name">
    <vt:lpwstr>589256c7-9946-44df-b379-51beb93fd2d9</vt:lpwstr>
  </property>
  <property fmtid="{D5CDD505-2E9C-101B-9397-08002B2CF9AE}" pid="7" name="MSIP_Label_589256c7-9946-44df-b379-51beb93fd2d9_SiteId">
    <vt:lpwstr>36da45f1-dd2c-4d1f-af13-5abe46b99921</vt:lpwstr>
  </property>
  <property fmtid="{D5CDD505-2E9C-101B-9397-08002B2CF9AE}" pid="8" name="MSIP_Label_589256c7-9946-44df-b379-51beb93fd2d9_ActionId">
    <vt:lpwstr>7f72d58a-b577-4837-aebe-5697b141ba10</vt:lpwstr>
  </property>
  <property fmtid="{D5CDD505-2E9C-101B-9397-08002B2CF9AE}" pid="9" name="MSIP_Label_589256c7-9946-44df-b379-51beb93fd2d9_ContentBits">
    <vt:lpwstr>0</vt:lpwstr>
  </property>
  <property fmtid="{D5CDD505-2E9C-101B-9397-08002B2CF9AE}" pid="10" name="MediaServiceImageTags">
    <vt:lpwstr/>
  </property>
</Properties>
</file>